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  <p:sldMasterId id="2147483653" r:id="rId2"/>
  </p:sldMasterIdLst>
  <p:notesMasterIdLst>
    <p:notesMasterId r:id="rId7"/>
  </p:notesMasterIdLst>
  <p:handoutMasterIdLst>
    <p:handoutMasterId r:id="rId8"/>
  </p:handoutMasterIdLst>
  <p:sldIdLst>
    <p:sldId id="262" r:id="rId3"/>
    <p:sldId id="263" r:id="rId4"/>
    <p:sldId id="264" r:id="rId5"/>
    <p:sldId id="351" r:id="rId6"/>
  </p:sldIdLst>
  <p:sldSz cx="10693400" cy="7561263"/>
  <p:notesSz cx="6718300" cy="9855200"/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A50DBC2-602D-429F-81EF-A126CA127084}">
          <p14:sldIdLst/>
        </p14:section>
        <p14:section name="Arrows" id="{61E976D0-99DD-4535-BE34-086960A4F829}">
          <p14:sldIdLst>
            <p14:sldId id="262"/>
            <p14:sldId id="263"/>
            <p14:sldId id="264"/>
            <p14:sldId id="351"/>
          </p14:sldIdLst>
        </p14:section>
        <p14:section name="Circular diagrams" id="{736D816C-3E4C-4329-9DEC-5173CB18BF6D}">
          <p14:sldIdLst/>
        </p14:section>
        <p14:section name="Other shapes" id="{6915425E-6EC3-41CD-B24A-34518E29A3D6}">
          <p14:sldIdLst/>
        </p14:section>
        <p14:section name="Diagrams, process charts and timelines" id="{96E83A73-5949-4A4D-9ED8-A4D9CA5D3FB7}">
          <p14:sldIdLst/>
        </p14:section>
        <p14:section name="Maps" id="{E4ABC0BA-367C-4F16-BB28-D662BEB77589}">
          <p14:sldIdLst/>
        </p14:section>
        <p14:section name="Icons" id="{B61DE427-AB50-4A89-8B05-57CA983E5E0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20">
          <p15:clr>
            <a:srgbClr val="A4A3A4"/>
          </p15:clr>
        </p15:guide>
        <p15:guide id="2" orient="horz" pos="4530">
          <p15:clr>
            <a:srgbClr val="A4A3A4"/>
          </p15:clr>
        </p15:guide>
        <p15:guide id="3" orient="horz" pos="607">
          <p15:clr>
            <a:srgbClr val="A4A3A4"/>
          </p15:clr>
        </p15:guide>
        <p15:guide id="4" orient="horz" pos="700">
          <p15:clr>
            <a:srgbClr val="A4A3A4"/>
          </p15:clr>
        </p15:guide>
        <p15:guide id="5" orient="horz" pos="4156">
          <p15:clr>
            <a:srgbClr val="A4A3A4"/>
          </p15:clr>
        </p15:guide>
        <p15:guide id="6" orient="horz" pos="4063">
          <p15:clr>
            <a:srgbClr val="A4A3A4"/>
          </p15:clr>
        </p15:guide>
        <p15:guide id="7" orient="horz" pos="2662">
          <p15:clr>
            <a:srgbClr val="A4A3A4"/>
          </p15:clr>
        </p15:guide>
        <p15:guide id="8" orient="horz" pos="2755">
          <p15:clr>
            <a:srgbClr val="A4A3A4"/>
          </p15:clr>
        </p15:guide>
        <p15:guide id="9" orient="horz" pos="1261">
          <p15:clr>
            <a:srgbClr val="A4A3A4"/>
          </p15:clr>
        </p15:guide>
        <p15:guide id="10" orient="horz" pos="1354">
          <p15:clr>
            <a:srgbClr val="A4A3A4"/>
          </p15:clr>
        </p15:guide>
        <p15:guide id="11" pos="357">
          <p15:clr>
            <a:srgbClr val="A4A3A4"/>
          </p15:clr>
        </p15:guide>
        <p15:guide id="12" pos="6379">
          <p15:clr>
            <a:srgbClr val="A4A3A4"/>
          </p15:clr>
        </p15:guide>
        <p15:guide id="13" pos="3419">
          <p15:clr>
            <a:srgbClr val="A4A3A4"/>
          </p15:clr>
        </p15:guide>
        <p15:guide id="14" pos="3317">
          <p15:clr>
            <a:srgbClr val="A4A3A4"/>
          </p15:clr>
        </p15:guide>
        <p15:guide id="15" pos="4338">
          <p15:clr>
            <a:srgbClr val="A4A3A4"/>
          </p15:clr>
        </p15:guide>
        <p15:guide id="16" pos="4440">
          <p15:clr>
            <a:srgbClr val="A4A3A4"/>
          </p15:clr>
        </p15:guide>
        <p15:guide id="17" pos="2398">
          <p15:clr>
            <a:srgbClr val="A4A3A4"/>
          </p15:clr>
        </p15:guide>
        <p15:guide id="18" pos="2296">
          <p15:clr>
            <a:srgbClr val="A4A3A4"/>
          </p15:clr>
        </p15:guide>
        <p15:guide id="19" pos="1276">
          <p15:clr>
            <a:srgbClr val="A4A3A4"/>
          </p15:clr>
        </p15:guide>
        <p15:guide id="20" pos="1378">
          <p15:clr>
            <a:srgbClr val="A4A3A4"/>
          </p15:clr>
        </p15:guide>
        <p15:guide id="21" pos="5460">
          <p15:clr>
            <a:srgbClr val="A4A3A4"/>
          </p15:clr>
        </p15:guide>
        <p15:guide id="22" pos="535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A51"/>
    <a:srgbClr val="EB8C00"/>
    <a:srgbClr val="968C6D"/>
    <a:srgbClr val="A32020"/>
    <a:srgbClr val="602320"/>
    <a:srgbClr val="DC6900"/>
    <a:srgbClr val="6D6E71"/>
    <a:srgbClr val="000000"/>
    <a:srgbClr val="D5D1C5"/>
    <a:srgbClr val="EAE8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8729" autoAdjust="0"/>
  </p:normalViewPr>
  <p:slideViewPr>
    <p:cSldViewPr snapToObjects="1">
      <p:cViewPr varScale="1">
        <p:scale>
          <a:sx n="104" d="100"/>
          <a:sy n="104" d="100"/>
        </p:scale>
        <p:origin x="1302" y="96"/>
      </p:cViewPr>
      <p:guideLst>
        <p:guide orient="horz" pos="420"/>
        <p:guide orient="horz" pos="4530"/>
        <p:guide orient="horz" pos="607"/>
        <p:guide orient="horz" pos="700"/>
        <p:guide orient="horz" pos="4156"/>
        <p:guide orient="horz" pos="4063"/>
        <p:guide orient="horz" pos="2662"/>
        <p:guide orient="horz" pos="2755"/>
        <p:guide orient="horz" pos="1261"/>
        <p:guide orient="horz" pos="1354"/>
        <p:guide pos="357"/>
        <p:guide pos="6379"/>
        <p:guide pos="3419"/>
        <p:guide pos="3317"/>
        <p:guide pos="4338"/>
        <p:guide pos="4440"/>
        <p:guide pos="2398"/>
        <p:guide pos="2296"/>
        <p:guide pos="1276"/>
        <p:guide pos="1378"/>
        <p:guide pos="5460"/>
        <p:guide pos="53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48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dim\Desktop\Projects\CitiPrint_&#1074;%20&#1055;&#1088;&#1086;&#1094;&#1077;&#1089;&#1089;&#1077;\InvestorDeck_CitiPrint\&#1055;&#1088;&#1080;&#1083;&#1086;&#1078;&#1077;&#1085;&#1080;&#1077;%201%20InvestMemo%20CityPrint%20&#1060;&#1069;&#1052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1-4965-47CE-AB76-52AEA45F3F65}"/>
              </c:ext>
            </c:extLst>
          </c:dPt>
          <c:dPt>
            <c:idx val="2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3-4965-47CE-AB76-52AEA45F3F65}"/>
              </c:ext>
            </c:extLst>
          </c:dPt>
          <c:dPt>
            <c:idx val="3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5-4965-47CE-AB76-52AEA45F3F65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6-4965-47CE-AB76-52AEA45F3F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6</c:v>
                </c:pt>
                <c:pt idx="1">
                  <c:v>23</c:v>
                </c:pt>
                <c:pt idx="2">
                  <c:v>21</c:v>
                </c:pt>
                <c:pt idx="3">
                  <c:v>8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7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overlap val="100"/>
        <c:axId val="309934720"/>
        <c:axId val="309944704"/>
      </c:barChart>
      <c:scatterChart>
        <c:scatterStyle val="lineMarker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dPt>
            <c:idx val="0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8-4965-47CE-AB76-52AEA45F3F65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9-4965-47CE-AB76-52AEA45F3F65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A-4965-47CE-AB76-52AEA45F3F65}"/>
              </c:ext>
            </c:extLst>
          </c:dPt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B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9947776"/>
        <c:axId val="309946240"/>
      </c:scatterChart>
      <c:catAx>
        <c:axId val="309934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44704"/>
        <c:crossesAt val="0"/>
        <c:auto val="1"/>
        <c:lblAlgn val="ctr"/>
        <c:lblOffset val="100"/>
        <c:noMultiLvlLbl val="0"/>
      </c:catAx>
      <c:valAx>
        <c:axId val="30994470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34720"/>
        <c:crosses val="autoZero"/>
        <c:crossBetween val="between"/>
        <c:majorUnit val="0.2"/>
      </c:valAx>
      <c:valAx>
        <c:axId val="309946240"/>
        <c:scaling>
          <c:orientation val="minMax"/>
          <c:max val="100"/>
        </c:scaling>
        <c:delete val="0"/>
        <c:axPos val="r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47776"/>
        <c:crosses val="max"/>
        <c:crossBetween val="midCat"/>
      </c:valAx>
      <c:valAx>
        <c:axId val="309947776"/>
        <c:scaling>
          <c:orientation val="minMax"/>
        </c:scaling>
        <c:delete val="0"/>
        <c:axPos val="t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46240"/>
        <c:crosses val="max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389355796308195E-2"/>
          <c:y val="2.723735964895976E-2"/>
          <c:w val="0.8185692912716408"/>
          <c:h val="0.684087151879954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Графики!$C$190</c:f>
              <c:strCache>
                <c:ptCount val="1"/>
                <c:pt idx="0">
                  <c:v>Заказы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0:$F$190</c:f>
              <c:numCache>
                <c:formatCode>General</c:formatCode>
                <c:ptCount val="3"/>
                <c:pt idx="0">
                  <c:v>824</c:v>
                </c:pt>
                <c:pt idx="1">
                  <c:v>690</c:v>
                </c:pt>
                <c:pt idx="2">
                  <c:v>542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67024552"/>
        <c:axId val="567023240"/>
      </c:barChart>
      <c:lineChart>
        <c:grouping val="standard"/>
        <c:varyColors val="0"/>
        <c:ser>
          <c:idx val="1"/>
          <c:order val="1"/>
          <c:tx>
            <c:strRef>
              <c:f>Графики!$C$191</c:f>
              <c:strCache>
                <c:ptCount val="1"/>
                <c:pt idx="0">
                  <c:v>Средний объем заказа (тыс. руб.)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4444444444444467E-2"/>
                  <c:y val="-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2D-4C89-B165-E0ECAA3D5BD7}"/>
                </c:ext>
              </c:extLst>
            </c:dLbl>
            <c:dLbl>
              <c:idx val="1"/>
              <c:layout>
                <c:manualLayout>
                  <c:x val="-4.4444444444444543E-2"/>
                  <c:y val="-6.0185185185185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2D-4C89-B165-E0ECAA3D5BD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2D-4C89-B165-E0ECAA3D5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1:$F$191</c:f>
              <c:numCache>
                <c:formatCode>_(* #,##0_);_(* \(#,##0\);_(* "-"_);_(@_)</c:formatCode>
                <c:ptCount val="3"/>
                <c:pt idx="0">
                  <c:v>254.44167490291255</c:v>
                </c:pt>
                <c:pt idx="1">
                  <c:v>361.6792721159419</c:v>
                </c:pt>
                <c:pt idx="2">
                  <c:v>638.3352966420664</c:v>
                </c:pt>
              </c:numCache>
            </c:numRef>
          </c: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7089600"/>
        <c:axId val="597089928"/>
      </c:lineChart>
      <c:catAx>
        <c:axId val="567024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UA"/>
          </a:p>
        </c:txPr>
        <c:crossAx val="567023240"/>
        <c:crosses val="autoZero"/>
        <c:auto val="1"/>
        <c:lblAlgn val="ctr"/>
        <c:lblOffset val="100"/>
        <c:noMultiLvlLbl val="0"/>
      </c:catAx>
      <c:valAx>
        <c:axId val="567023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UA"/>
          </a:p>
        </c:txPr>
        <c:crossAx val="567024552"/>
        <c:crosses val="autoZero"/>
        <c:crossBetween val="between"/>
      </c:valAx>
      <c:valAx>
        <c:axId val="597089928"/>
        <c:scaling>
          <c:orientation val="minMax"/>
        </c:scaling>
        <c:delete val="0"/>
        <c:axPos val="r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UA"/>
          </a:p>
        </c:txPr>
        <c:crossAx val="597089600"/>
        <c:crosses val="max"/>
        <c:crossBetween val="between"/>
      </c:valAx>
      <c:catAx>
        <c:axId val="5970896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70899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UA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UA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93285214348207"/>
          <c:y val="4.6247920103095322E-2"/>
          <c:w val="0.87777537182852139"/>
          <c:h val="0.81586241799720483"/>
        </c:manualLayout>
      </c:layout>
      <c:areaChart>
        <c:grouping val="standard"/>
        <c:varyColors val="0"/>
        <c:ser>
          <c:idx val="7"/>
          <c:order val="7"/>
          <c:tx>
            <c:strRef>
              <c:f>'ShareMonitor figures'!$I$10</c:f>
              <c:strCache>
                <c:ptCount val="1"/>
                <c:pt idx="0">
                  <c:v>IBSG</c:v>
                </c:pt>
              </c:strCache>
            </c:strRef>
          </c:tx>
          <c:spPr>
            <a:solidFill>
              <a:srgbClr val="FF6000"/>
            </a:solidFill>
            <a:ln>
              <a:solidFill>
                <a:srgbClr val="CC3300"/>
              </a:solidFill>
            </a:ln>
          </c:spP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I$11:$I$846</c:f>
              <c:numCache>
                <c:formatCode>0%</c:formatCode>
                <c:ptCount val="787"/>
                <c:pt idx="0">
                  <c:v>2.0438596491228074</c:v>
                </c:pt>
                <c:pt idx="1">
                  <c:v>2.0877192982456143</c:v>
                </c:pt>
                <c:pt idx="2">
                  <c:v>2.0526315789473681</c:v>
                </c:pt>
                <c:pt idx="3">
                  <c:v>2.1491228070175437</c:v>
                </c:pt>
                <c:pt idx="4">
                  <c:v>2.1666666666666665</c:v>
                </c:pt>
                <c:pt idx="5">
                  <c:v>2.1929824561403506</c:v>
                </c:pt>
                <c:pt idx="6">
                  <c:v>2.2105263157894739</c:v>
                </c:pt>
                <c:pt idx="7">
                  <c:v>2.2105263157894739</c:v>
                </c:pt>
                <c:pt idx="8">
                  <c:v>2.2192982456140351</c:v>
                </c:pt>
                <c:pt idx="9">
                  <c:v>2.2280701754385963</c:v>
                </c:pt>
                <c:pt idx="10">
                  <c:v>2.2192982456140351</c:v>
                </c:pt>
                <c:pt idx="11">
                  <c:v>2.2280701754385963</c:v>
                </c:pt>
                <c:pt idx="12">
                  <c:v>2.2280701754385963</c:v>
                </c:pt>
                <c:pt idx="13">
                  <c:v>2.2280701754385963</c:v>
                </c:pt>
                <c:pt idx="14">
                  <c:v>2.1929824561403506</c:v>
                </c:pt>
                <c:pt idx="15">
                  <c:v>2.2105263157894739</c:v>
                </c:pt>
                <c:pt idx="16">
                  <c:v>2.1929824561403506</c:v>
                </c:pt>
                <c:pt idx="17">
                  <c:v>2.1315789473684212</c:v>
                </c:pt>
                <c:pt idx="18">
                  <c:v>2.1578947368421053</c:v>
                </c:pt>
                <c:pt idx="19">
                  <c:v>2.2280701754385963</c:v>
                </c:pt>
                <c:pt idx="20">
                  <c:v>2.2280701754385963</c:v>
                </c:pt>
                <c:pt idx="21">
                  <c:v>2.2280701754385963</c:v>
                </c:pt>
                <c:pt idx="22">
                  <c:v>2.2280701754385963</c:v>
                </c:pt>
                <c:pt idx="23">
                  <c:v>2.2368421052631575</c:v>
                </c:pt>
                <c:pt idx="24">
                  <c:v>2.2280701754385963</c:v>
                </c:pt>
                <c:pt idx="25">
                  <c:v>2.2192982456140351</c:v>
                </c:pt>
                <c:pt idx="26">
                  <c:v>2.2368421052631575</c:v>
                </c:pt>
                <c:pt idx="27">
                  <c:v>2.1964912280701752</c:v>
                </c:pt>
                <c:pt idx="28">
                  <c:v>2.1578947368421053</c:v>
                </c:pt>
                <c:pt idx="29">
                  <c:v>2.1228070175438596</c:v>
                </c:pt>
                <c:pt idx="30">
                  <c:v>2.0877192982456143</c:v>
                </c:pt>
                <c:pt idx="31">
                  <c:v>2.0526315789473681</c:v>
                </c:pt>
                <c:pt idx="32">
                  <c:v>2.0263157894736841</c:v>
                </c:pt>
                <c:pt idx="33">
                  <c:v>1.9912280701754388</c:v>
                </c:pt>
                <c:pt idx="34">
                  <c:v>1.9561403508771931</c:v>
                </c:pt>
                <c:pt idx="35">
                  <c:v>1.9561403508771931</c:v>
                </c:pt>
                <c:pt idx="36">
                  <c:v>1.9649122807017538</c:v>
                </c:pt>
                <c:pt idx="37">
                  <c:v>1.9561403508771931</c:v>
                </c:pt>
                <c:pt idx="38">
                  <c:v>2</c:v>
                </c:pt>
                <c:pt idx="39">
                  <c:v>1.9824561403508771</c:v>
                </c:pt>
                <c:pt idx="40">
                  <c:v>1.9122807017543861</c:v>
                </c:pt>
                <c:pt idx="41">
                  <c:v>1.9210526315789469</c:v>
                </c:pt>
                <c:pt idx="42">
                  <c:v>1.87719298245614</c:v>
                </c:pt>
                <c:pt idx="43">
                  <c:v>1.8508771929824559</c:v>
                </c:pt>
                <c:pt idx="44">
                  <c:v>1.8508771929824559</c:v>
                </c:pt>
                <c:pt idx="45">
                  <c:v>1.8403508771929826</c:v>
                </c:pt>
                <c:pt idx="46">
                  <c:v>1.8684210526315792</c:v>
                </c:pt>
                <c:pt idx="47">
                  <c:v>1.8421052631578947</c:v>
                </c:pt>
                <c:pt idx="48">
                  <c:v>1.8666666666666667</c:v>
                </c:pt>
                <c:pt idx="49">
                  <c:v>1.8947368421052633</c:v>
                </c:pt>
                <c:pt idx="50">
                  <c:v>1.833333333333333</c:v>
                </c:pt>
                <c:pt idx="51">
                  <c:v>1.833333333333333</c:v>
                </c:pt>
                <c:pt idx="52">
                  <c:v>1.8245614035087723</c:v>
                </c:pt>
                <c:pt idx="53">
                  <c:v>1.833333333333333</c:v>
                </c:pt>
                <c:pt idx="54">
                  <c:v>1.807017543859649</c:v>
                </c:pt>
                <c:pt idx="55">
                  <c:v>1.8596491228070176</c:v>
                </c:pt>
                <c:pt idx="56">
                  <c:v>1.857894736842105</c:v>
                </c:pt>
                <c:pt idx="57">
                  <c:v>1.857894736842105</c:v>
                </c:pt>
                <c:pt idx="58">
                  <c:v>1.857894736842105</c:v>
                </c:pt>
                <c:pt idx="59">
                  <c:v>1.8754385964912279</c:v>
                </c:pt>
                <c:pt idx="60">
                  <c:v>1.9298245614035086</c:v>
                </c:pt>
                <c:pt idx="61">
                  <c:v>1.8570175438596492</c:v>
                </c:pt>
                <c:pt idx="62">
                  <c:v>1.8026315789473681</c:v>
                </c:pt>
                <c:pt idx="63">
                  <c:v>1.8596491228070176</c:v>
                </c:pt>
                <c:pt idx="64">
                  <c:v>1.6947368421052631</c:v>
                </c:pt>
                <c:pt idx="65">
                  <c:v>1.8421052631578947</c:v>
                </c:pt>
                <c:pt idx="66">
                  <c:v>1.8245614035087723</c:v>
                </c:pt>
                <c:pt idx="67">
                  <c:v>1.8157894736842106</c:v>
                </c:pt>
                <c:pt idx="68">
                  <c:v>1.7894736842105261</c:v>
                </c:pt>
                <c:pt idx="69">
                  <c:v>1.807017543859649</c:v>
                </c:pt>
                <c:pt idx="70">
                  <c:v>1.807017543859649</c:v>
                </c:pt>
                <c:pt idx="71">
                  <c:v>1.8508771929824559</c:v>
                </c:pt>
                <c:pt idx="72">
                  <c:v>1.8245614035087723</c:v>
                </c:pt>
                <c:pt idx="73">
                  <c:v>1.807017543859649</c:v>
                </c:pt>
                <c:pt idx="74">
                  <c:v>1.807017543859649</c:v>
                </c:pt>
                <c:pt idx="75">
                  <c:v>1.8508771929824559</c:v>
                </c:pt>
                <c:pt idx="76">
                  <c:v>1.807017543859649</c:v>
                </c:pt>
                <c:pt idx="77">
                  <c:v>1.833333333333333</c:v>
                </c:pt>
                <c:pt idx="78">
                  <c:v>1.8596491228070176</c:v>
                </c:pt>
                <c:pt idx="79">
                  <c:v>1.8184210526315789</c:v>
                </c:pt>
                <c:pt idx="80">
                  <c:v>1.8947368421052633</c:v>
                </c:pt>
                <c:pt idx="81">
                  <c:v>1.9035087719298245</c:v>
                </c:pt>
                <c:pt idx="82">
                  <c:v>1.9122807017543861</c:v>
                </c:pt>
                <c:pt idx="83">
                  <c:v>1.9122807017543861</c:v>
                </c:pt>
                <c:pt idx="84">
                  <c:v>1.9385964912280702</c:v>
                </c:pt>
                <c:pt idx="85">
                  <c:v>1.9298245614035086</c:v>
                </c:pt>
                <c:pt idx="86">
                  <c:v>1.9122807017543861</c:v>
                </c:pt>
                <c:pt idx="87">
                  <c:v>1.9561403508771931</c:v>
                </c:pt>
                <c:pt idx="88">
                  <c:v>1.9210526315789469</c:v>
                </c:pt>
                <c:pt idx="89">
                  <c:v>1.9824561403508771</c:v>
                </c:pt>
                <c:pt idx="90">
                  <c:v>1.9473684210526314</c:v>
                </c:pt>
                <c:pt idx="91">
                  <c:v>1.9385964912280702</c:v>
                </c:pt>
                <c:pt idx="92">
                  <c:v>1.9473684210526314</c:v>
                </c:pt>
                <c:pt idx="93">
                  <c:v>1.9298245614035086</c:v>
                </c:pt>
                <c:pt idx="94">
                  <c:v>2.0526315789473681</c:v>
                </c:pt>
                <c:pt idx="95">
                  <c:v>2.070175438596491</c:v>
                </c:pt>
                <c:pt idx="96">
                  <c:v>2.0877192982456143</c:v>
                </c:pt>
                <c:pt idx="97">
                  <c:v>2.1315789473684212</c:v>
                </c:pt>
                <c:pt idx="98">
                  <c:v>2.0877192982456143</c:v>
                </c:pt>
                <c:pt idx="99">
                  <c:v>2.0087719298245612</c:v>
                </c:pt>
                <c:pt idx="100">
                  <c:v>2.0263157894736841</c:v>
                </c:pt>
                <c:pt idx="101">
                  <c:v>2.0438596491228074</c:v>
                </c:pt>
                <c:pt idx="102">
                  <c:v>2.0087719298245612</c:v>
                </c:pt>
                <c:pt idx="103">
                  <c:v>1.9824561403508771</c:v>
                </c:pt>
                <c:pt idx="104">
                  <c:v>1.9824561403508771</c:v>
                </c:pt>
                <c:pt idx="105">
                  <c:v>2</c:v>
                </c:pt>
                <c:pt idx="106">
                  <c:v>2.0263157894736841</c:v>
                </c:pt>
                <c:pt idx="107">
                  <c:v>2.0350877192982457</c:v>
                </c:pt>
                <c:pt idx="108">
                  <c:v>2.0789473684210527</c:v>
                </c:pt>
                <c:pt idx="109">
                  <c:v>2.0877192982456143</c:v>
                </c:pt>
                <c:pt idx="110">
                  <c:v>2.0614035087719298</c:v>
                </c:pt>
                <c:pt idx="111">
                  <c:v>2.0438596491228074</c:v>
                </c:pt>
                <c:pt idx="112">
                  <c:v>2.0526315789473681</c:v>
                </c:pt>
                <c:pt idx="113">
                  <c:v>1.9649122807017538</c:v>
                </c:pt>
                <c:pt idx="114">
                  <c:v>1.9912280701754388</c:v>
                </c:pt>
                <c:pt idx="115">
                  <c:v>1.9824561403508771</c:v>
                </c:pt>
                <c:pt idx="116">
                  <c:v>1.9298245614035086</c:v>
                </c:pt>
                <c:pt idx="117">
                  <c:v>1.9473684210526314</c:v>
                </c:pt>
                <c:pt idx="118">
                  <c:v>1.9298245614035086</c:v>
                </c:pt>
                <c:pt idx="119">
                  <c:v>1.9385964912280702</c:v>
                </c:pt>
                <c:pt idx="120">
                  <c:v>1.9385964912280702</c:v>
                </c:pt>
                <c:pt idx="121">
                  <c:v>1.9649122807017538</c:v>
                </c:pt>
                <c:pt idx="122">
                  <c:v>2</c:v>
                </c:pt>
                <c:pt idx="123">
                  <c:v>1.9736842105263155</c:v>
                </c:pt>
                <c:pt idx="124">
                  <c:v>1.9824561403508771</c:v>
                </c:pt>
                <c:pt idx="125">
                  <c:v>1.9649122807017538</c:v>
                </c:pt>
                <c:pt idx="126">
                  <c:v>1.9473684210526314</c:v>
                </c:pt>
                <c:pt idx="127">
                  <c:v>1.8947368421052633</c:v>
                </c:pt>
                <c:pt idx="128">
                  <c:v>1.8947368421052633</c:v>
                </c:pt>
                <c:pt idx="129">
                  <c:v>1.9824561403508771</c:v>
                </c:pt>
                <c:pt idx="130">
                  <c:v>1.9649122807017538</c:v>
                </c:pt>
                <c:pt idx="131">
                  <c:v>1.9561403508771931</c:v>
                </c:pt>
                <c:pt idx="132">
                  <c:v>1.9298245614035086</c:v>
                </c:pt>
                <c:pt idx="133">
                  <c:v>1.9947368421052629</c:v>
                </c:pt>
                <c:pt idx="134">
                  <c:v>2.0789473684210527</c:v>
                </c:pt>
                <c:pt idx="135">
                  <c:v>2.0789473684210527</c:v>
                </c:pt>
                <c:pt idx="136">
                  <c:v>2.1140350877192979</c:v>
                </c:pt>
                <c:pt idx="137">
                  <c:v>2.1228070175438596</c:v>
                </c:pt>
                <c:pt idx="138">
                  <c:v>2.1578947368421053</c:v>
                </c:pt>
                <c:pt idx="139">
                  <c:v>2.1315789473684212</c:v>
                </c:pt>
                <c:pt idx="140">
                  <c:v>2.1578947368421053</c:v>
                </c:pt>
                <c:pt idx="141">
                  <c:v>2.1140350877192979</c:v>
                </c:pt>
                <c:pt idx="142">
                  <c:v>2.0964912280701751</c:v>
                </c:pt>
                <c:pt idx="143">
                  <c:v>2.0614035087719298</c:v>
                </c:pt>
                <c:pt idx="144">
                  <c:v>2.0614035087719298</c:v>
                </c:pt>
                <c:pt idx="145">
                  <c:v>2.0622807017543856</c:v>
                </c:pt>
                <c:pt idx="146">
                  <c:v>2.0175438596491224</c:v>
                </c:pt>
                <c:pt idx="147">
                  <c:v>2.0543859649122806</c:v>
                </c:pt>
                <c:pt idx="148">
                  <c:v>1.9842105263157896</c:v>
                </c:pt>
                <c:pt idx="149">
                  <c:v>1.9850877192982455</c:v>
                </c:pt>
                <c:pt idx="150">
                  <c:v>2.4210526315789473</c:v>
                </c:pt>
                <c:pt idx="151">
                  <c:v>2.333333333333333</c:v>
                </c:pt>
                <c:pt idx="152">
                  <c:v>2.3508771929824563</c:v>
                </c:pt>
                <c:pt idx="153">
                  <c:v>2.2561403508771924</c:v>
                </c:pt>
                <c:pt idx="154">
                  <c:v>2.3780701754385962</c:v>
                </c:pt>
                <c:pt idx="155">
                  <c:v>2.3280701754385964</c:v>
                </c:pt>
                <c:pt idx="156">
                  <c:v>2.2666666666666666</c:v>
                </c:pt>
                <c:pt idx="157">
                  <c:v>2.2570175438596491</c:v>
                </c:pt>
                <c:pt idx="158">
                  <c:v>2.263157894736842</c:v>
                </c:pt>
                <c:pt idx="159">
                  <c:v>2.2982456140350878</c:v>
                </c:pt>
                <c:pt idx="160">
                  <c:v>2.4210526315789473</c:v>
                </c:pt>
                <c:pt idx="161">
                  <c:v>2.4719298245614034</c:v>
                </c:pt>
                <c:pt idx="162">
                  <c:v>2.4473684210526314</c:v>
                </c:pt>
                <c:pt idx="163">
                  <c:v>2.4385964912280702</c:v>
                </c:pt>
                <c:pt idx="164">
                  <c:v>2.4394736842105265</c:v>
                </c:pt>
                <c:pt idx="165">
                  <c:v>2.4736842105263159</c:v>
                </c:pt>
                <c:pt idx="166">
                  <c:v>2.4780701754385963</c:v>
                </c:pt>
                <c:pt idx="167">
                  <c:v>2.5754385964912276</c:v>
                </c:pt>
                <c:pt idx="168">
                  <c:v>2.5070175438596487</c:v>
                </c:pt>
                <c:pt idx="169">
                  <c:v>2.5087719298245612</c:v>
                </c:pt>
                <c:pt idx="170">
                  <c:v>2.6131578947368417</c:v>
                </c:pt>
                <c:pt idx="171">
                  <c:v>2.6491228070175437</c:v>
                </c:pt>
                <c:pt idx="172">
                  <c:v>2.5350877192982453</c:v>
                </c:pt>
                <c:pt idx="173">
                  <c:v>2.6131578947368417</c:v>
                </c:pt>
                <c:pt idx="174">
                  <c:v>2.6131578947368417</c:v>
                </c:pt>
                <c:pt idx="175">
                  <c:v>2.6491228070175437</c:v>
                </c:pt>
                <c:pt idx="176">
                  <c:v>2.6491228070175437</c:v>
                </c:pt>
                <c:pt idx="177">
                  <c:v>2.6482456140350878</c:v>
                </c:pt>
                <c:pt idx="178">
                  <c:v>2.6491228070175437</c:v>
                </c:pt>
                <c:pt idx="179">
                  <c:v>2.6850877192982452</c:v>
                </c:pt>
                <c:pt idx="180">
                  <c:v>2.6657894736842103</c:v>
                </c:pt>
                <c:pt idx="181">
                  <c:v>2.6657894736842103</c:v>
                </c:pt>
                <c:pt idx="182">
                  <c:v>2.668421052631579</c:v>
                </c:pt>
                <c:pt idx="183">
                  <c:v>2.5614035087719298</c:v>
                </c:pt>
                <c:pt idx="184">
                  <c:v>2.6622807017543857</c:v>
                </c:pt>
                <c:pt idx="185">
                  <c:v>2.6675438596491228</c:v>
                </c:pt>
                <c:pt idx="186">
                  <c:v>2.6675438596491228</c:v>
                </c:pt>
                <c:pt idx="187">
                  <c:v>2.736842105263158</c:v>
                </c:pt>
                <c:pt idx="188">
                  <c:v>2.7096491228070172</c:v>
                </c:pt>
                <c:pt idx="189">
                  <c:v>2.7192982456140347</c:v>
                </c:pt>
                <c:pt idx="190">
                  <c:v>2.7184210526315788</c:v>
                </c:pt>
                <c:pt idx="191">
                  <c:v>2.676315789473684</c:v>
                </c:pt>
                <c:pt idx="192">
                  <c:v>2.6508771929824557</c:v>
                </c:pt>
                <c:pt idx="193">
                  <c:v>2.5877192982456139</c:v>
                </c:pt>
                <c:pt idx="194">
                  <c:v>2.4614035087719297</c:v>
                </c:pt>
                <c:pt idx="195">
                  <c:v>2.3964912280701753</c:v>
                </c:pt>
                <c:pt idx="196">
                  <c:v>2.4649122807017543</c:v>
                </c:pt>
                <c:pt idx="197">
                  <c:v>2.4640350877192985</c:v>
                </c:pt>
                <c:pt idx="198">
                  <c:v>2.333333333333333</c:v>
                </c:pt>
                <c:pt idx="199">
                  <c:v>2.3070175438596494</c:v>
                </c:pt>
                <c:pt idx="200">
                  <c:v>2.4649122807017543</c:v>
                </c:pt>
                <c:pt idx="201">
                  <c:v>2.4736842105263159</c:v>
                </c:pt>
                <c:pt idx="202">
                  <c:v>2.4736842105263159</c:v>
                </c:pt>
                <c:pt idx="203">
                  <c:v>2.4385964912280702</c:v>
                </c:pt>
                <c:pt idx="204">
                  <c:v>2.4728070175438597</c:v>
                </c:pt>
                <c:pt idx="205">
                  <c:v>2.4561403508771926</c:v>
                </c:pt>
                <c:pt idx="206">
                  <c:v>2.263157894736842</c:v>
                </c:pt>
                <c:pt idx="207">
                  <c:v>2.3157894736842102</c:v>
                </c:pt>
                <c:pt idx="208">
                  <c:v>2.333333333333333</c:v>
                </c:pt>
                <c:pt idx="209">
                  <c:v>2.2973684210526319</c:v>
                </c:pt>
                <c:pt idx="210">
                  <c:v>2.3342105263157893</c:v>
                </c:pt>
                <c:pt idx="211">
                  <c:v>2.2964912280701753</c:v>
                </c:pt>
                <c:pt idx="212">
                  <c:v>2.3403508771929822</c:v>
                </c:pt>
                <c:pt idx="213">
                  <c:v>2.2964912280701753</c:v>
                </c:pt>
                <c:pt idx="214">
                  <c:v>2.333333333333333</c:v>
                </c:pt>
                <c:pt idx="215">
                  <c:v>2.3149122807017544</c:v>
                </c:pt>
                <c:pt idx="216">
                  <c:v>2.2798245614035086</c:v>
                </c:pt>
                <c:pt idx="217">
                  <c:v>2.3105263157894735</c:v>
                </c:pt>
                <c:pt idx="218">
                  <c:v>2.1614035087719294</c:v>
                </c:pt>
                <c:pt idx="219">
                  <c:v>2.2447368421052634</c:v>
                </c:pt>
                <c:pt idx="220">
                  <c:v>2.2447368421052634</c:v>
                </c:pt>
                <c:pt idx="221">
                  <c:v>2.2026315789473681</c:v>
                </c:pt>
                <c:pt idx="222">
                  <c:v>2.2807017543859649</c:v>
                </c:pt>
                <c:pt idx="223">
                  <c:v>2.3324561403508772</c:v>
                </c:pt>
                <c:pt idx="224">
                  <c:v>2.271052631578947</c:v>
                </c:pt>
                <c:pt idx="225">
                  <c:v>2.2456140350877192</c:v>
                </c:pt>
                <c:pt idx="226">
                  <c:v>2.333333333333333</c:v>
                </c:pt>
                <c:pt idx="227">
                  <c:v>2.4368421052631577</c:v>
                </c:pt>
                <c:pt idx="228">
                  <c:v>2.263157894736842</c:v>
                </c:pt>
                <c:pt idx="229">
                  <c:v>2.1929824561403506</c:v>
                </c:pt>
                <c:pt idx="230">
                  <c:v>2.2157894736842101</c:v>
                </c:pt>
                <c:pt idx="231">
                  <c:v>2.0535087719298248</c:v>
                </c:pt>
                <c:pt idx="232">
                  <c:v>1.9649122807017538</c:v>
                </c:pt>
                <c:pt idx="233">
                  <c:v>2</c:v>
                </c:pt>
                <c:pt idx="234">
                  <c:v>1.9824561403508771</c:v>
                </c:pt>
                <c:pt idx="235">
                  <c:v>2</c:v>
                </c:pt>
                <c:pt idx="236">
                  <c:v>2.0438596491228074</c:v>
                </c:pt>
                <c:pt idx="237">
                  <c:v>1.9736842105263155</c:v>
                </c:pt>
                <c:pt idx="238">
                  <c:v>1.8956140350877191</c:v>
                </c:pt>
                <c:pt idx="239">
                  <c:v>1.807017543859649</c:v>
                </c:pt>
                <c:pt idx="240">
                  <c:v>1.7684210526315787</c:v>
                </c:pt>
                <c:pt idx="241">
                  <c:v>1.7692982456140349</c:v>
                </c:pt>
                <c:pt idx="242">
                  <c:v>1.7692982456140349</c:v>
                </c:pt>
                <c:pt idx="243">
                  <c:v>1.7543859649122804</c:v>
                </c:pt>
                <c:pt idx="244">
                  <c:v>1.7675438596491229</c:v>
                </c:pt>
                <c:pt idx="245">
                  <c:v>1.7324561403508771</c:v>
                </c:pt>
                <c:pt idx="246">
                  <c:v>1.7271929824561401</c:v>
                </c:pt>
                <c:pt idx="247">
                  <c:v>1.6798245614035086</c:v>
                </c:pt>
                <c:pt idx="248">
                  <c:v>1.807017543859649</c:v>
                </c:pt>
                <c:pt idx="249">
                  <c:v>1.7140350877192985</c:v>
                </c:pt>
                <c:pt idx="250">
                  <c:v>1.7807017543859649</c:v>
                </c:pt>
                <c:pt idx="251">
                  <c:v>1.7789473684210524</c:v>
                </c:pt>
                <c:pt idx="252">
                  <c:v>1.7131578947368422</c:v>
                </c:pt>
                <c:pt idx="253">
                  <c:v>1.6666666666666665</c:v>
                </c:pt>
                <c:pt idx="254">
                  <c:v>1.7526315789473683</c:v>
                </c:pt>
                <c:pt idx="255">
                  <c:v>1.763157894736842</c:v>
                </c:pt>
                <c:pt idx="256">
                  <c:v>1.8061403508771927</c:v>
                </c:pt>
                <c:pt idx="257">
                  <c:v>1.7543859649122804</c:v>
                </c:pt>
                <c:pt idx="258">
                  <c:v>1.807017543859649</c:v>
                </c:pt>
                <c:pt idx="259">
                  <c:v>1.7719298245614037</c:v>
                </c:pt>
                <c:pt idx="260">
                  <c:v>1.807017543859649</c:v>
                </c:pt>
                <c:pt idx="261">
                  <c:v>1.807017543859649</c:v>
                </c:pt>
                <c:pt idx="262">
                  <c:v>1.8736842105263154</c:v>
                </c:pt>
                <c:pt idx="263">
                  <c:v>1.8947368421052633</c:v>
                </c:pt>
                <c:pt idx="264">
                  <c:v>1.763157894736842</c:v>
                </c:pt>
                <c:pt idx="265">
                  <c:v>1.8307017543859652</c:v>
                </c:pt>
                <c:pt idx="266">
                  <c:v>1.8947368421052633</c:v>
                </c:pt>
                <c:pt idx="267">
                  <c:v>1.8947368421052633</c:v>
                </c:pt>
                <c:pt idx="268">
                  <c:v>1.8947368421052633</c:v>
                </c:pt>
                <c:pt idx="269">
                  <c:v>1.8342105263157897</c:v>
                </c:pt>
                <c:pt idx="270">
                  <c:v>1.8947368421052633</c:v>
                </c:pt>
                <c:pt idx="271">
                  <c:v>1.9473684210526314</c:v>
                </c:pt>
                <c:pt idx="272">
                  <c:v>1.8947368421052633</c:v>
                </c:pt>
                <c:pt idx="273">
                  <c:v>1.8947368421052633</c:v>
                </c:pt>
                <c:pt idx="274">
                  <c:v>1.807017543859649</c:v>
                </c:pt>
                <c:pt idx="275">
                  <c:v>1.7280701754385963</c:v>
                </c:pt>
                <c:pt idx="276">
                  <c:v>1.6666666666666665</c:v>
                </c:pt>
                <c:pt idx="277">
                  <c:v>1.7982456140350873</c:v>
                </c:pt>
                <c:pt idx="278">
                  <c:v>1.7017543859649122</c:v>
                </c:pt>
                <c:pt idx="279">
                  <c:v>1.8061403508771927</c:v>
                </c:pt>
                <c:pt idx="280">
                  <c:v>1.7868421052631578</c:v>
                </c:pt>
                <c:pt idx="281">
                  <c:v>1.7868421052631578</c:v>
                </c:pt>
                <c:pt idx="282">
                  <c:v>1.7543859649122804</c:v>
                </c:pt>
                <c:pt idx="283">
                  <c:v>1.7192982456140351</c:v>
                </c:pt>
                <c:pt idx="284">
                  <c:v>1.7157894736842105</c:v>
                </c:pt>
                <c:pt idx="285">
                  <c:v>1.7192982456140351</c:v>
                </c:pt>
                <c:pt idx="286">
                  <c:v>1.736842105263158</c:v>
                </c:pt>
                <c:pt idx="287">
                  <c:v>1.7298245614035088</c:v>
                </c:pt>
                <c:pt idx="288">
                  <c:v>1.807017543859649</c:v>
                </c:pt>
                <c:pt idx="289">
                  <c:v>1.7359649122807017</c:v>
                </c:pt>
                <c:pt idx="290">
                  <c:v>1.7359649122807017</c:v>
                </c:pt>
                <c:pt idx="291">
                  <c:v>1.7192982456140351</c:v>
                </c:pt>
                <c:pt idx="292">
                  <c:v>1.736842105263158</c:v>
                </c:pt>
                <c:pt idx="293">
                  <c:v>1.7517543859649121</c:v>
                </c:pt>
                <c:pt idx="294">
                  <c:v>1.7184210526315788</c:v>
                </c:pt>
                <c:pt idx="295">
                  <c:v>1.763157894736842</c:v>
                </c:pt>
                <c:pt idx="296">
                  <c:v>1.6315789473684208</c:v>
                </c:pt>
                <c:pt idx="297">
                  <c:v>1.736842105263158</c:v>
                </c:pt>
                <c:pt idx="298">
                  <c:v>1.763157894736842</c:v>
                </c:pt>
                <c:pt idx="299">
                  <c:v>1.7017543859649122</c:v>
                </c:pt>
                <c:pt idx="300">
                  <c:v>1.5350877192982453</c:v>
                </c:pt>
                <c:pt idx="301">
                  <c:v>1.4561403508771931</c:v>
                </c:pt>
                <c:pt idx="302">
                  <c:v>1.5140350877192983</c:v>
                </c:pt>
                <c:pt idx="303">
                  <c:v>1.3508771929824563</c:v>
                </c:pt>
                <c:pt idx="304">
                  <c:v>1.3508771929824563</c:v>
                </c:pt>
                <c:pt idx="305">
                  <c:v>1.263157894736842</c:v>
                </c:pt>
                <c:pt idx="306">
                  <c:v>1.2456140350877192</c:v>
                </c:pt>
                <c:pt idx="307">
                  <c:v>1.3157894736842102</c:v>
                </c:pt>
                <c:pt idx="308">
                  <c:v>1.4552631578947368</c:v>
                </c:pt>
                <c:pt idx="309">
                  <c:v>1.4736842105263155</c:v>
                </c:pt>
                <c:pt idx="310">
                  <c:v>1.5438596491228069</c:v>
                </c:pt>
                <c:pt idx="311">
                  <c:v>1.4561403508771931</c:v>
                </c:pt>
                <c:pt idx="312">
                  <c:v>1.5438596491228069</c:v>
                </c:pt>
                <c:pt idx="313">
                  <c:v>1.6368421052631579</c:v>
                </c:pt>
                <c:pt idx="314">
                  <c:v>1.6315789473684208</c:v>
                </c:pt>
                <c:pt idx="315">
                  <c:v>1.6228070175438596</c:v>
                </c:pt>
                <c:pt idx="316">
                  <c:v>1.6912280701754385</c:v>
                </c:pt>
                <c:pt idx="317">
                  <c:v>1.6666666666666665</c:v>
                </c:pt>
                <c:pt idx="318">
                  <c:v>1.5763157894736843</c:v>
                </c:pt>
                <c:pt idx="319">
                  <c:v>1.5956140350877193</c:v>
                </c:pt>
                <c:pt idx="320">
                  <c:v>1.6578947368421053</c:v>
                </c:pt>
                <c:pt idx="321">
                  <c:v>1.7166666666666663</c:v>
                </c:pt>
                <c:pt idx="322">
                  <c:v>1.5789473684210522</c:v>
                </c:pt>
                <c:pt idx="323">
                  <c:v>1.6315789473684208</c:v>
                </c:pt>
                <c:pt idx="324">
                  <c:v>1.763157894736842</c:v>
                </c:pt>
                <c:pt idx="325">
                  <c:v>1.807017543859649</c:v>
                </c:pt>
                <c:pt idx="326">
                  <c:v>1.7192982456140351</c:v>
                </c:pt>
                <c:pt idx="327">
                  <c:v>1.8754385964912279</c:v>
                </c:pt>
                <c:pt idx="328">
                  <c:v>1.6315789473684208</c:v>
                </c:pt>
                <c:pt idx="329">
                  <c:v>1.6315789473684208</c:v>
                </c:pt>
                <c:pt idx="330">
                  <c:v>1.8947368421052633</c:v>
                </c:pt>
                <c:pt idx="331">
                  <c:v>1.807017543859649</c:v>
                </c:pt>
                <c:pt idx="332">
                  <c:v>1.8842105263157896</c:v>
                </c:pt>
                <c:pt idx="333">
                  <c:v>1.9298245614035086</c:v>
                </c:pt>
                <c:pt idx="334">
                  <c:v>1.9649122807017538</c:v>
                </c:pt>
                <c:pt idx="335">
                  <c:v>1.9824561403508771</c:v>
                </c:pt>
                <c:pt idx="336">
                  <c:v>1.9122807017543861</c:v>
                </c:pt>
                <c:pt idx="337">
                  <c:v>2.070175438596491</c:v>
                </c:pt>
                <c:pt idx="338">
                  <c:v>2.0789473684210527</c:v>
                </c:pt>
                <c:pt idx="339">
                  <c:v>1.9824561403508771</c:v>
                </c:pt>
                <c:pt idx="340">
                  <c:v>2.2982456140350878</c:v>
                </c:pt>
                <c:pt idx="341">
                  <c:v>2.1578947368421053</c:v>
                </c:pt>
                <c:pt idx="342">
                  <c:v>2.333333333333333</c:v>
                </c:pt>
                <c:pt idx="343">
                  <c:v>2.4210526315789473</c:v>
                </c:pt>
                <c:pt idx="344">
                  <c:v>2.5964912280701755</c:v>
                </c:pt>
                <c:pt idx="345">
                  <c:v>2.736842105263158</c:v>
                </c:pt>
                <c:pt idx="346">
                  <c:v>2.7675438596491229</c:v>
                </c:pt>
                <c:pt idx="347">
                  <c:v>2.7719298245614032</c:v>
                </c:pt>
                <c:pt idx="348">
                  <c:v>2.8421052631578942</c:v>
                </c:pt>
                <c:pt idx="349">
                  <c:v>2.8421052631578942</c:v>
                </c:pt>
                <c:pt idx="350">
                  <c:v>2.8245614035087718</c:v>
                </c:pt>
                <c:pt idx="351">
                  <c:v>2.8385964912280697</c:v>
                </c:pt>
                <c:pt idx="352">
                  <c:v>2.807017543859649</c:v>
                </c:pt>
                <c:pt idx="353">
                  <c:v>2.807017543859649</c:v>
                </c:pt>
                <c:pt idx="354">
                  <c:v>2.6842105263157894</c:v>
                </c:pt>
                <c:pt idx="355">
                  <c:v>2.6228070175438591</c:v>
                </c:pt>
                <c:pt idx="356">
                  <c:v>2.5087719298245612</c:v>
                </c:pt>
                <c:pt idx="357">
                  <c:v>2.5263157894736845</c:v>
                </c:pt>
                <c:pt idx="358">
                  <c:v>2.5263157894736845</c:v>
                </c:pt>
                <c:pt idx="359">
                  <c:v>2.5956140350877193</c:v>
                </c:pt>
                <c:pt idx="360">
                  <c:v>2.6403508771929824</c:v>
                </c:pt>
                <c:pt idx="361">
                  <c:v>2.9473684210526314</c:v>
                </c:pt>
                <c:pt idx="362">
                  <c:v>2.856140350877193</c:v>
                </c:pt>
                <c:pt idx="363">
                  <c:v>2.8736842105263154</c:v>
                </c:pt>
                <c:pt idx="364">
                  <c:v>2.8947368421052628</c:v>
                </c:pt>
                <c:pt idx="365">
                  <c:v>2.8947368421052628</c:v>
                </c:pt>
                <c:pt idx="366">
                  <c:v>2.9473684210526314</c:v>
                </c:pt>
                <c:pt idx="367">
                  <c:v>2.9912280701754383</c:v>
                </c:pt>
                <c:pt idx="368">
                  <c:v>3.0350877192982457</c:v>
                </c:pt>
                <c:pt idx="369">
                  <c:v>3.0087719298245617</c:v>
                </c:pt>
                <c:pt idx="370">
                  <c:v>2.9912280701754383</c:v>
                </c:pt>
                <c:pt idx="371">
                  <c:v>2.9736842105263155</c:v>
                </c:pt>
                <c:pt idx="372">
                  <c:v>2.9736842105263155</c:v>
                </c:pt>
                <c:pt idx="373">
                  <c:v>2.9473684210526314</c:v>
                </c:pt>
                <c:pt idx="374">
                  <c:v>2.9473684210526314</c:v>
                </c:pt>
                <c:pt idx="375">
                  <c:v>2.9298245614035086</c:v>
                </c:pt>
                <c:pt idx="376">
                  <c:v>2.9912280701754383</c:v>
                </c:pt>
                <c:pt idx="377">
                  <c:v>2.9473684210526314</c:v>
                </c:pt>
                <c:pt idx="378">
                  <c:v>3.0350877192982457</c:v>
                </c:pt>
                <c:pt idx="379">
                  <c:v>2.9473684210526314</c:v>
                </c:pt>
                <c:pt idx="380">
                  <c:v>2.807017543859649</c:v>
                </c:pt>
                <c:pt idx="381">
                  <c:v>2.7719298245614032</c:v>
                </c:pt>
                <c:pt idx="382">
                  <c:v>2.7719298245614032</c:v>
                </c:pt>
                <c:pt idx="383">
                  <c:v>2.7719298245614032</c:v>
                </c:pt>
                <c:pt idx="384">
                  <c:v>2.7543859649122804</c:v>
                </c:pt>
                <c:pt idx="385">
                  <c:v>2.7719298245614032</c:v>
                </c:pt>
                <c:pt idx="386">
                  <c:v>2.7719298245614032</c:v>
                </c:pt>
                <c:pt idx="387">
                  <c:v>2.807017543859649</c:v>
                </c:pt>
                <c:pt idx="388">
                  <c:v>2.8245614035087718</c:v>
                </c:pt>
                <c:pt idx="389">
                  <c:v>2.7719298245614032</c:v>
                </c:pt>
                <c:pt idx="390">
                  <c:v>2.7894736842105265</c:v>
                </c:pt>
                <c:pt idx="391">
                  <c:v>2.807017543859649</c:v>
                </c:pt>
                <c:pt idx="392">
                  <c:v>2.807017543859649</c:v>
                </c:pt>
                <c:pt idx="393">
                  <c:v>2.7192982456140347</c:v>
                </c:pt>
                <c:pt idx="394">
                  <c:v>2.7192982456140347</c:v>
                </c:pt>
                <c:pt idx="395">
                  <c:v>2.7543859649122804</c:v>
                </c:pt>
                <c:pt idx="396">
                  <c:v>2.807017543859649</c:v>
                </c:pt>
                <c:pt idx="397">
                  <c:v>2.8421052631578942</c:v>
                </c:pt>
                <c:pt idx="398">
                  <c:v>2.6842105263157894</c:v>
                </c:pt>
                <c:pt idx="399">
                  <c:v>2.6377192982456137</c:v>
                </c:pt>
                <c:pt idx="400">
                  <c:v>2.8771929824561404</c:v>
                </c:pt>
                <c:pt idx="401">
                  <c:v>2.9035087719298245</c:v>
                </c:pt>
                <c:pt idx="402">
                  <c:v>2.8596491228070176</c:v>
                </c:pt>
                <c:pt idx="403">
                  <c:v>2.8263157894736839</c:v>
                </c:pt>
                <c:pt idx="404">
                  <c:v>2.763157894736842</c:v>
                </c:pt>
                <c:pt idx="405">
                  <c:v>2.7543859649122804</c:v>
                </c:pt>
                <c:pt idx="406">
                  <c:v>2.7728070175438595</c:v>
                </c:pt>
                <c:pt idx="407">
                  <c:v>2.8587719298245613</c:v>
                </c:pt>
                <c:pt idx="408">
                  <c:v>2.8666666666666663</c:v>
                </c:pt>
                <c:pt idx="409">
                  <c:v>2.8245614035087718</c:v>
                </c:pt>
                <c:pt idx="410">
                  <c:v>2.8596491228070176</c:v>
                </c:pt>
                <c:pt idx="411">
                  <c:v>3</c:v>
                </c:pt>
                <c:pt idx="412">
                  <c:v>3.0526315789473681</c:v>
                </c:pt>
                <c:pt idx="413">
                  <c:v>3.1008771929824563</c:v>
                </c:pt>
                <c:pt idx="414">
                  <c:v>3.0228070175438591</c:v>
                </c:pt>
                <c:pt idx="415">
                  <c:v>3.0175438596491224</c:v>
                </c:pt>
                <c:pt idx="416">
                  <c:v>3.0526315789473681</c:v>
                </c:pt>
                <c:pt idx="417">
                  <c:v>2.857894736842105</c:v>
                </c:pt>
                <c:pt idx="418">
                  <c:v>2.8333333333333335</c:v>
                </c:pt>
                <c:pt idx="419">
                  <c:v>2.8333333333333335</c:v>
                </c:pt>
                <c:pt idx="420">
                  <c:v>2.8596491228070176</c:v>
                </c:pt>
                <c:pt idx="421">
                  <c:v>2.8596491228070176</c:v>
                </c:pt>
                <c:pt idx="422">
                  <c:v>2.8771929824561404</c:v>
                </c:pt>
                <c:pt idx="423">
                  <c:v>2.8771929824561404</c:v>
                </c:pt>
                <c:pt idx="424">
                  <c:v>2.8771929824561404</c:v>
                </c:pt>
                <c:pt idx="425">
                  <c:v>2.9122807017543861</c:v>
                </c:pt>
                <c:pt idx="426">
                  <c:v>3.0350877192982457</c:v>
                </c:pt>
                <c:pt idx="427">
                  <c:v>3.1228070175438596</c:v>
                </c:pt>
                <c:pt idx="428">
                  <c:v>3.1228070175438596</c:v>
                </c:pt>
                <c:pt idx="429">
                  <c:v>2.7947368421052627</c:v>
                </c:pt>
                <c:pt idx="430">
                  <c:v>2.7947368421052627</c:v>
                </c:pt>
                <c:pt idx="431">
                  <c:v>2.7017543859649122</c:v>
                </c:pt>
                <c:pt idx="432">
                  <c:v>2.7017543859649122</c:v>
                </c:pt>
                <c:pt idx="433">
                  <c:v>2.7017543859649122</c:v>
                </c:pt>
                <c:pt idx="434">
                  <c:v>2.7192982456140347</c:v>
                </c:pt>
                <c:pt idx="435">
                  <c:v>2.7192982456140347</c:v>
                </c:pt>
                <c:pt idx="436">
                  <c:v>2.7017543859649122</c:v>
                </c:pt>
                <c:pt idx="437">
                  <c:v>2.6140350877192984</c:v>
                </c:pt>
                <c:pt idx="438">
                  <c:v>2.7543859649122804</c:v>
                </c:pt>
                <c:pt idx="439">
                  <c:v>2.9298245614035086</c:v>
                </c:pt>
                <c:pt idx="440">
                  <c:v>2.8596491228070176</c:v>
                </c:pt>
                <c:pt idx="441">
                  <c:v>2.8596491228070176</c:v>
                </c:pt>
                <c:pt idx="442">
                  <c:v>2.9473684210526314</c:v>
                </c:pt>
                <c:pt idx="443">
                  <c:v>2.9473684210526314</c:v>
                </c:pt>
                <c:pt idx="444">
                  <c:v>3</c:v>
                </c:pt>
                <c:pt idx="445">
                  <c:v>2.8421052631578942</c:v>
                </c:pt>
                <c:pt idx="446">
                  <c:v>2.8245614035087718</c:v>
                </c:pt>
                <c:pt idx="447">
                  <c:v>2.8596491228070176</c:v>
                </c:pt>
                <c:pt idx="448">
                  <c:v>2.9403508771929823</c:v>
                </c:pt>
                <c:pt idx="449">
                  <c:v>2.7956140350877194</c:v>
                </c:pt>
                <c:pt idx="450">
                  <c:v>3.0350877192982457</c:v>
                </c:pt>
                <c:pt idx="451">
                  <c:v>3.1228070175438596</c:v>
                </c:pt>
                <c:pt idx="452">
                  <c:v>3.0175438596491224</c:v>
                </c:pt>
                <c:pt idx="453">
                  <c:v>3.1228070175438596</c:v>
                </c:pt>
                <c:pt idx="454">
                  <c:v>2.8614035087719301</c:v>
                </c:pt>
                <c:pt idx="455">
                  <c:v>2.8596491228070176</c:v>
                </c:pt>
                <c:pt idx="456">
                  <c:v>2.7280701754385963</c:v>
                </c:pt>
                <c:pt idx="457">
                  <c:v>2.6140350877192984</c:v>
                </c:pt>
                <c:pt idx="458">
                  <c:v>2.5087719298245612</c:v>
                </c:pt>
                <c:pt idx="459">
                  <c:v>2.5649122807017544</c:v>
                </c:pt>
                <c:pt idx="460">
                  <c:v>2.6052631578947367</c:v>
                </c:pt>
                <c:pt idx="461">
                  <c:v>2.6350877192982454</c:v>
                </c:pt>
                <c:pt idx="462">
                  <c:v>2.6403508771929824</c:v>
                </c:pt>
                <c:pt idx="463">
                  <c:v>2.6578947368421053</c:v>
                </c:pt>
                <c:pt idx="464">
                  <c:v>2.6842105263157894</c:v>
                </c:pt>
                <c:pt idx="465">
                  <c:v>2.6999999999999997</c:v>
                </c:pt>
                <c:pt idx="466">
                  <c:v>2.7535087719298246</c:v>
                </c:pt>
                <c:pt idx="467">
                  <c:v>2.6833333333333336</c:v>
                </c:pt>
                <c:pt idx="468">
                  <c:v>2.8157894736842106</c:v>
                </c:pt>
                <c:pt idx="469">
                  <c:v>2.8333333333333335</c:v>
                </c:pt>
                <c:pt idx="470">
                  <c:v>2.8596491228070176</c:v>
                </c:pt>
                <c:pt idx="471">
                  <c:v>2.7192982456140347</c:v>
                </c:pt>
                <c:pt idx="472">
                  <c:v>2.6315789473684208</c:v>
                </c:pt>
                <c:pt idx="473">
                  <c:v>2.6315789473684208</c:v>
                </c:pt>
                <c:pt idx="474">
                  <c:v>2.6140350877192984</c:v>
                </c:pt>
                <c:pt idx="475">
                  <c:v>2.5964912280701755</c:v>
                </c:pt>
                <c:pt idx="476">
                  <c:v>2.6315789473684208</c:v>
                </c:pt>
                <c:pt idx="477">
                  <c:v>2.6491228070175437</c:v>
                </c:pt>
                <c:pt idx="478">
                  <c:v>2.6140350877192984</c:v>
                </c:pt>
                <c:pt idx="479">
                  <c:v>2.5964912280701755</c:v>
                </c:pt>
                <c:pt idx="480">
                  <c:v>2.5964912280701755</c:v>
                </c:pt>
                <c:pt idx="481">
                  <c:v>2.6140350877192984</c:v>
                </c:pt>
                <c:pt idx="482">
                  <c:v>2.5438596491228069</c:v>
                </c:pt>
                <c:pt idx="483">
                  <c:v>2.3684210526315788</c:v>
                </c:pt>
                <c:pt idx="484">
                  <c:v>2.3070175438596494</c:v>
                </c:pt>
                <c:pt idx="485">
                  <c:v>2.3114035087719298</c:v>
                </c:pt>
                <c:pt idx="486">
                  <c:v>2.3684210526315788</c:v>
                </c:pt>
                <c:pt idx="487">
                  <c:v>2.3684210526315788</c:v>
                </c:pt>
                <c:pt idx="488">
                  <c:v>2.4535087719298243</c:v>
                </c:pt>
                <c:pt idx="489">
                  <c:v>2.333333333333333</c:v>
                </c:pt>
                <c:pt idx="490">
                  <c:v>2.333333333333333</c:v>
                </c:pt>
                <c:pt idx="491">
                  <c:v>2.3070175438596494</c:v>
                </c:pt>
                <c:pt idx="492">
                  <c:v>2.2982456140350878</c:v>
                </c:pt>
                <c:pt idx="493">
                  <c:v>2.2982456140350878</c:v>
                </c:pt>
                <c:pt idx="494">
                  <c:v>2.2982456140350878</c:v>
                </c:pt>
                <c:pt idx="495">
                  <c:v>2.333333333333333</c:v>
                </c:pt>
                <c:pt idx="496">
                  <c:v>2.4210526315789473</c:v>
                </c:pt>
                <c:pt idx="497">
                  <c:v>2.3684210526315788</c:v>
                </c:pt>
                <c:pt idx="498">
                  <c:v>2.3245614035087718</c:v>
                </c:pt>
                <c:pt idx="499">
                  <c:v>2.3157894736842102</c:v>
                </c:pt>
                <c:pt idx="500">
                  <c:v>2.2105263157894739</c:v>
                </c:pt>
                <c:pt idx="501">
                  <c:v>2.1754385964912282</c:v>
                </c:pt>
                <c:pt idx="502">
                  <c:v>2.0526315789473681</c:v>
                </c:pt>
                <c:pt idx="503">
                  <c:v>2.1140350877192979</c:v>
                </c:pt>
                <c:pt idx="504">
                  <c:v>2.1140350877192979</c:v>
                </c:pt>
                <c:pt idx="505">
                  <c:v>2.214035087719298</c:v>
                </c:pt>
                <c:pt idx="506">
                  <c:v>2.1578947368421053</c:v>
                </c:pt>
                <c:pt idx="507">
                  <c:v>2.1578947368421053</c:v>
                </c:pt>
                <c:pt idx="508">
                  <c:v>2.140350877192982</c:v>
                </c:pt>
                <c:pt idx="509">
                  <c:v>2.1614035087719294</c:v>
                </c:pt>
                <c:pt idx="510">
                  <c:v>2.2403508771929821</c:v>
                </c:pt>
                <c:pt idx="511">
                  <c:v>2.140350877192982</c:v>
                </c:pt>
                <c:pt idx="512">
                  <c:v>2.070175438596491</c:v>
                </c:pt>
                <c:pt idx="513">
                  <c:v>1.833333333333333</c:v>
                </c:pt>
                <c:pt idx="514">
                  <c:v>1.833333333333333</c:v>
                </c:pt>
                <c:pt idx="515">
                  <c:v>1.8245614035087723</c:v>
                </c:pt>
                <c:pt idx="516">
                  <c:v>1.8684210526315792</c:v>
                </c:pt>
                <c:pt idx="517">
                  <c:v>1.8157894736842106</c:v>
                </c:pt>
                <c:pt idx="518">
                  <c:v>1.7982456140350873</c:v>
                </c:pt>
                <c:pt idx="519">
                  <c:v>1.7894736842105261</c:v>
                </c:pt>
                <c:pt idx="520">
                  <c:v>1.763157894736842</c:v>
                </c:pt>
                <c:pt idx="521">
                  <c:v>1.807017543859649</c:v>
                </c:pt>
                <c:pt idx="522">
                  <c:v>1.7894736842105261</c:v>
                </c:pt>
                <c:pt idx="523">
                  <c:v>1.8245614035087723</c:v>
                </c:pt>
                <c:pt idx="524">
                  <c:v>1.7894736842105261</c:v>
                </c:pt>
                <c:pt idx="525">
                  <c:v>1.807017543859649</c:v>
                </c:pt>
                <c:pt idx="526">
                  <c:v>1.8175438596491227</c:v>
                </c:pt>
                <c:pt idx="527">
                  <c:v>1.8157894736842106</c:v>
                </c:pt>
                <c:pt idx="528">
                  <c:v>1.807017543859649</c:v>
                </c:pt>
                <c:pt idx="529">
                  <c:v>1.807017543859649</c:v>
                </c:pt>
                <c:pt idx="530">
                  <c:v>1.807017543859649</c:v>
                </c:pt>
                <c:pt idx="531">
                  <c:v>1.787719298245614</c:v>
                </c:pt>
                <c:pt idx="532">
                  <c:v>1.807017543859649</c:v>
                </c:pt>
                <c:pt idx="533">
                  <c:v>1.8508771929824559</c:v>
                </c:pt>
                <c:pt idx="534">
                  <c:v>1.8508771929824559</c:v>
                </c:pt>
                <c:pt idx="535">
                  <c:v>1.807017543859649</c:v>
                </c:pt>
                <c:pt idx="536">
                  <c:v>1.807017543859649</c:v>
                </c:pt>
                <c:pt idx="537">
                  <c:v>1.8105263157894735</c:v>
                </c:pt>
                <c:pt idx="538">
                  <c:v>1.8245614035087723</c:v>
                </c:pt>
                <c:pt idx="539">
                  <c:v>1.8596491228070176</c:v>
                </c:pt>
                <c:pt idx="540">
                  <c:v>1.8596491228070176</c:v>
                </c:pt>
                <c:pt idx="541">
                  <c:v>1.8947368421052633</c:v>
                </c:pt>
                <c:pt idx="542">
                  <c:v>1.8684210526315792</c:v>
                </c:pt>
                <c:pt idx="543">
                  <c:v>1.8684210526315792</c:v>
                </c:pt>
                <c:pt idx="544">
                  <c:v>1.893859649122807</c:v>
                </c:pt>
                <c:pt idx="545">
                  <c:v>2.0087719298245612</c:v>
                </c:pt>
                <c:pt idx="546">
                  <c:v>2.0087719298245612</c:v>
                </c:pt>
                <c:pt idx="547">
                  <c:v>2.0087719298245612</c:v>
                </c:pt>
                <c:pt idx="548">
                  <c:v>2.0087719298245612</c:v>
                </c:pt>
                <c:pt idx="549">
                  <c:v>1.9824561403508771</c:v>
                </c:pt>
                <c:pt idx="550">
                  <c:v>1.9403508771929827</c:v>
                </c:pt>
                <c:pt idx="551">
                  <c:v>1.8947368421052633</c:v>
                </c:pt>
                <c:pt idx="552">
                  <c:v>1.8947368421052633</c:v>
                </c:pt>
                <c:pt idx="553">
                  <c:v>1.9245614035087719</c:v>
                </c:pt>
                <c:pt idx="554">
                  <c:v>1.8438596491228072</c:v>
                </c:pt>
                <c:pt idx="555">
                  <c:v>1.8438596491228072</c:v>
                </c:pt>
                <c:pt idx="556">
                  <c:v>1.807017543859649</c:v>
                </c:pt>
                <c:pt idx="557">
                  <c:v>1.7719298245614037</c:v>
                </c:pt>
                <c:pt idx="558">
                  <c:v>1.7719298245614037</c:v>
                </c:pt>
                <c:pt idx="559">
                  <c:v>1.7280701754385963</c:v>
                </c:pt>
                <c:pt idx="560">
                  <c:v>1.7280701754385963</c:v>
                </c:pt>
                <c:pt idx="561">
                  <c:v>1.7280701754385963</c:v>
                </c:pt>
                <c:pt idx="562">
                  <c:v>1.6754385964912282</c:v>
                </c:pt>
                <c:pt idx="563">
                  <c:v>1.6754385964912282</c:v>
                </c:pt>
                <c:pt idx="564">
                  <c:v>1.5614035087719298</c:v>
                </c:pt>
                <c:pt idx="565">
                  <c:v>1.5614035087719298</c:v>
                </c:pt>
                <c:pt idx="566">
                  <c:v>1.5438596491228069</c:v>
                </c:pt>
                <c:pt idx="567">
                  <c:v>1.5438596491228069</c:v>
                </c:pt>
                <c:pt idx="568">
                  <c:v>1.4210526315789473</c:v>
                </c:pt>
                <c:pt idx="569">
                  <c:v>1.4210526315789473</c:v>
                </c:pt>
                <c:pt idx="570">
                  <c:v>1.5087719298245617</c:v>
                </c:pt>
                <c:pt idx="571">
                  <c:v>1.5175438596491229</c:v>
                </c:pt>
                <c:pt idx="572">
                  <c:v>1.5087719298245617</c:v>
                </c:pt>
                <c:pt idx="573">
                  <c:v>1.4912280701754383</c:v>
                </c:pt>
                <c:pt idx="574">
                  <c:v>1.4912280701754383</c:v>
                </c:pt>
                <c:pt idx="575">
                  <c:v>1.5087719298245617</c:v>
                </c:pt>
                <c:pt idx="576">
                  <c:v>1.5</c:v>
                </c:pt>
                <c:pt idx="577">
                  <c:v>1.4912280701754383</c:v>
                </c:pt>
                <c:pt idx="578">
                  <c:v>1.4561403508771931</c:v>
                </c:pt>
                <c:pt idx="579">
                  <c:v>1.4561403508771931</c:v>
                </c:pt>
                <c:pt idx="580">
                  <c:v>1.4561403508771931</c:v>
                </c:pt>
                <c:pt idx="581">
                  <c:v>1.4824561403508771</c:v>
                </c:pt>
                <c:pt idx="582">
                  <c:v>1.4824561403508771</c:v>
                </c:pt>
                <c:pt idx="583">
                  <c:v>1.4561403508771931</c:v>
                </c:pt>
                <c:pt idx="584">
                  <c:v>1.4385964912280702</c:v>
                </c:pt>
                <c:pt idx="585">
                  <c:v>1.4385964912280702</c:v>
                </c:pt>
                <c:pt idx="586">
                  <c:v>1.4473684210526314</c:v>
                </c:pt>
                <c:pt idx="587">
                  <c:v>1.4473684210526314</c:v>
                </c:pt>
                <c:pt idx="588">
                  <c:v>1.3684210526315788</c:v>
                </c:pt>
                <c:pt idx="589">
                  <c:v>1.3684210526315788</c:v>
                </c:pt>
                <c:pt idx="590">
                  <c:v>1.4473684210526314</c:v>
                </c:pt>
                <c:pt idx="591">
                  <c:v>1.4473684210526314</c:v>
                </c:pt>
                <c:pt idx="592">
                  <c:v>1.3859649122807016</c:v>
                </c:pt>
                <c:pt idx="593">
                  <c:v>1.405263157894737</c:v>
                </c:pt>
                <c:pt idx="594">
                  <c:v>1.4368421052631577</c:v>
                </c:pt>
                <c:pt idx="595">
                  <c:v>1.4122807017543857</c:v>
                </c:pt>
                <c:pt idx="596">
                  <c:v>1.2807017543859649</c:v>
                </c:pt>
                <c:pt idx="597">
                  <c:v>1.263157894736842</c:v>
                </c:pt>
                <c:pt idx="598">
                  <c:v>1.2017543859649122</c:v>
                </c:pt>
                <c:pt idx="599">
                  <c:v>1.2105263157894735</c:v>
                </c:pt>
                <c:pt idx="600">
                  <c:v>1.2105263157894735</c:v>
                </c:pt>
                <c:pt idx="601">
                  <c:v>1.1929824561403506</c:v>
                </c:pt>
                <c:pt idx="602">
                  <c:v>1.1052631578947367</c:v>
                </c:pt>
                <c:pt idx="603">
                  <c:v>1.0578947368421052</c:v>
                </c:pt>
                <c:pt idx="604">
                  <c:v>1.0456140350877194</c:v>
                </c:pt>
                <c:pt idx="605">
                  <c:v>1.0175438596491229</c:v>
                </c:pt>
                <c:pt idx="606">
                  <c:v>1.0175438596491229</c:v>
                </c:pt>
                <c:pt idx="607">
                  <c:v>1.0175438596491229</c:v>
                </c:pt>
                <c:pt idx="608">
                  <c:v>0.92982456140350878</c:v>
                </c:pt>
                <c:pt idx="609">
                  <c:v>0.97368421052631571</c:v>
                </c:pt>
                <c:pt idx="610">
                  <c:v>0.97368421052631571</c:v>
                </c:pt>
                <c:pt idx="611">
                  <c:v>0.90350877192982448</c:v>
                </c:pt>
                <c:pt idx="612">
                  <c:v>0.86842105263157898</c:v>
                </c:pt>
                <c:pt idx="613">
                  <c:v>0.89385964912280702</c:v>
                </c:pt>
                <c:pt idx="614">
                  <c:v>0.84210526315789469</c:v>
                </c:pt>
                <c:pt idx="615">
                  <c:v>0.82456140350877183</c:v>
                </c:pt>
                <c:pt idx="616">
                  <c:v>0.86842105263157898</c:v>
                </c:pt>
                <c:pt idx="617">
                  <c:v>0.92982456140350878</c:v>
                </c:pt>
                <c:pt idx="618">
                  <c:v>0.92982456140350878</c:v>
                </c:pt>
                <c:pt idx="619">
                  <c:v>0.85964912280701733</c:v>
                </c:pt>
                <c:pt idx="620">
                  <c:v>0.89473684210526327</c:v>
                </c:pt>
                <c:pt idx="621">
                  <c:v>0.83333333333333326</c:v>
                </c:pt>
                <c:pt idx="622">
                  <c:v>0.82456140350877183</c:v>
                </c:pt>
                <c:pt idx="623">
                  <c:v>0.82456140350877183</c:v>
                </c:pt>
                <c:pt idx="624">
                  <c:v>0.86842105263157898</c:v>
                </c:pt>
                <c:pt idx="625">
                  <c:v>0.78947368421052611</c:v>
                </c:pt>
                <c:pt idx="626">
                  <c:v>0.78947368421052611</c:v>
                </c:pt>
                <c:pt idx="627">
                  <c:v>0.82456140350877183</c:v>
                </c:pt>
                <c:pt idx="628">
                  <c:v>0.8157894736842104</c:v>
                </c:pt>
                <c:pt idx="629">
                  <c:v>0.85438596491228069</c:v>
                </c:pt>
                <c:pt idx="630">
                  <c:v>0.80701754385964919</c:v>
                </c:pt>
                <c:pt idx="631">
                  <c:v>0.83333333333333326</c:v>
                </c:pt>
                <c:pt idx="632">
                  <c:v>0.83333333333333326</c:v>
                </c:pt>
                <c:pt idx="633">
                  <c:v>0.7543859649122806</c:v>
                </c:pt>
                <c:pt idx="634">
                  <c:v>0.7543859649122806</c:v>
                </c:pt>
                <c:pt idx="635">
                  <c:v>0.75263157894736832</c:v>
                </c:pt>
                <c:pt idx="636">
                  <c:v>0.77192982456140347</c:v>
                </c:pt>
                <c:pt idx="637">
                  <c:v>0.91754385964912277</c:v>
                </c:pt>
                <c:pt idx="638">
                  <c:v>0.92982456140350878</c:v>
                </c:pt>
                <c:pt idx="639">
                  <c:v>0.92982456140350878</c:v>
                </c:pt>
                <c:pt idx="640">
                  <c:v>0.92982456140350878</c:v>
                </c:pt>
                <c:pt idx="641">
                  <c:v>0.98157894736842088</c:v>
                </c:pt>
                <c:pt idx="642">
                  <c:v>0.95614035087719307</c:v>
                </c:pt>
                <c:pt idx="643">
                  <c:v>0.94736842105263142</c:v>
                </c:pt>
                <c:pt idx="644">
                  <c:v>1.0087719298245612</c:v>
                </c:pt>
                <c:pt idx="645">
                  <c:v>1.0175438596491229</c:v>
                </c:pt>
                <c:pt idx="646">
                  <c:v>0.90350877192982448</c:v>
                </c:pt>
                <c:pt idx="647">
                  <c:v>1.0017543859649121</c:v>
                </c:pt>
                <c:pt idx="648">
                  <c:v>1.1491228070175437</c:v>
                </c:pt>
                <c:pt idx="649">
                  <c:v>1.1491228070175437</c:v>
                </c:pt>
                <c:pt idx="650">
                  <c:v>1.1929824561403506</c:v>
                </c:pt>
                <c:pt idx="651">
                  <c:v>1.2105263157894735</c:v>
                </c:pt>
                <c:pt idx="652">
                  <c:v>1.236842105263158</c:v>
                </c:pt>
                <c:pt idx="653">
                  <c:v>1.2105263157894735</c:v>
                </c:pt>
                <c:pt idx="654">
                  <c:v>1.2807017543859649</c:v>
                </c:pt>
                <c:pt idx="655">
                  <c:v>1.2280701754385963</c:v>
                </c:pt>
                <c:pt idx="656">
                  <c:v>1.1929824561403506</c:v>
                </c:pt>
                <c:pt idx="657">
                  <c:v>1.1929824561403506</c:v>
                </c:pt>
                <c:pt idx="658">
                  <c:v>1.1929824561403506</c:v>
                </c:pt>
                <c:pt idx="659">
                  <c:v>1.2017543859649122</c:v>
                </c:pt>
                <c:pt idx="660">
                  <c:v>1.1403508771929824</c:v>
                </c:pt>
                <c:pt idx="661">
                  <c:v>1.1491228070175437</c:v>
                </c:pt>
                <c:pt idx="662">
                  <c:v>1.1403508771929824</c:v>
                </c:pt>
                <c:pt idx="663">
                  <c:v>1.1491228070175437</c:v>
                </c:pt>
                <c:pt idx="664">
                  <c:v>1.1754385964912282</c:v>
                </c:pt>
                <c:pt idx="665">
                  <c:v>1.1228070175438596</c:v>
                </c:pt>
                <c:pt idx="666">
                  <c:v>0.96666666666666679</c:v>
                </c:pt>
                <c:pt idx="667">
                  <c:v>0.92982456140350878</c:v>
                </c:pt>
                <c:pt idx="668">
                  <c:v>0.9368421052631577</c:v>
                </c:pt>
                <c:pt idx="669">
                  <c:v>0.92982456140350878</c:v>
                </c:pt>
                <c:pt idx="670">
                  <c:v>0.92982456140350878</c:v>
                </c:pt>
                <c:pt idx="671">
                  <c:v>0.88596491228070162</c:v>
                </c:pt>
                <c:pt idx="672">
                  <c:v>0.85964912280701733</c:v>
                </c:pt>
                <c:pt idx="673">
                  <c:v>0.87719298245614019</c:v>
                </c:pt>
                <c:pt idx="674">
                  <c:v>0.84210526315789469</c:v>
                </c:pt>
                <c:pt idx="675">
                  <c:v>0.7807017543859649</c:v>
                </c:pt>
                <c:pt idx="676">
                  <c:v>0.80701754385964919</c:v>
                </c:pt>
                <c:pt idx="677">
                  <c:v>0.82456140350877183</c:v>
                </c:pt>
                <c:pt idx="678">
                  <c:v>0.62280701754385959</c:v>
                </c:pt>
                <c:pt idx="679">
                  <c:v>0.57894736842105265</c:v>
                </c:pt>
                <c:pt idx="680">
                  <c:v>0.52631578947368407</c:v>
                </c:pt>
                <c:pt idx="681">
                  <c:v>0.48684210526315774</c:v>
                </c:pt>
                <c:pt idx="682">
                  <c:v>0.49473684210526314</c:v>
                </c:pt>
                <c:pt idx="683">
                  <c:v>0.49473684210526314</c:v>
                </c:pt>
                <c:pt idx="684">
                  <c:v>0.49122807017543857</c:v>
                </c:pt>
                <c:pt idx="685">
                  <c:v>0.5</c:v>
                </c:pt>
                <c:pt idx="686">
                  <c:v>0.49122807017543857</c:v>
                </c:pt>
                <c:pt idx="687">
                  <c:v>0.49122807017543857</c:v>
                </c:pt>
                <c:pt idx="688">
                  <c:v>0.49122807017543857</c:v>
                </c:pt>
                <c:pt idx="689">
                  <c:v>0.47368421052631571</c:v>
                </c:pt>
                <c:pt idx="690">
                  <c:v>0.47368421052631571</c:v>
                </c:pt>
                <c:pt idx="691">
                  <c:v>0.48947368421052628</c:v>
                </c:pt>
                <c:pt idx="692">
                  <c:v>0.48245614035087692</c:v>
                </c:pt>
                <c:pt idx="693">
                  <c:v>0.40701754385964906</c:v>
                </c:pt>
                <c:pt idx="694">
                  <c:v>0.42982456140350878</c:v>
                </c:pt>
                <c:pt idx="695">
                  <c:v>0.42982456140350878</c:v>
                </c:pt>
                <c:pt idx="696">
                  <c:v>0.42105263157894735</c:v>
                </c:pt>
                <c:pt idx="697">
                  <c:v>0.42105263157894735</c:v>
                </c:pt>
                <c:pt idx="698">
                  <c:v>0.34210526315789469</c:v>
                </c:pt>
                <c:pt idx="699">
                  <c:v>0.3157894736842104</c:v>
                </c:pt>
                <c:pt idx="700">
                  <c:v>0.31403508771929833</c:v>
                </c:pt>
                <c:pt idx="701">
                  <c:v>0.31403508771929833</c:v>
                </c:pt>
                <c:pt idx="702">
                  <c:v>0.2807017543859649</c:v>
                </c:pt>
                <c:pt idx="703">
                  <c:v>0.27192982456140347</c:v>
                </c:pt>
                <c:pt idx="704">
                  <c:v>0.27017543859649118</c:v>
                </c:pt>
                <c:pt idx="705">
                  <c:v>0.24561403508771917</c:v>
                </c:pt>
                <c:pt idx="706">
                  <c:v>0.27192982456140347</c:v>
                </c:pt>
                <c:pt idx="707">
                  <c:v>0.26543859649122803</c:v>
                </c:pt>
                <c:pt idx="708">
                  <c:v>0.27192982456140347</c:v>
                </c:pt>
                <c:pt idx="709">
                  <c:v>0.27192982456140347</c:v>
                </c:pt>
                <c:pt idx="710">
                  <c:v>0.21052631578947367</c:v>
                </c:pt>
                <c:pt idx="711">
                  <c:v>0.23859649122807003</c:v>
                </c:pt>
                <c:pt idx="712">
                  <c:v>0.21157894736842087</c:v>
                </c:pt>
                <c:pt idx="713">
                  <c:v>0.22807017543859653</c:v>
                </c:pt>
                <c:pt idx="714">
                  <c:v>0.22807017543859653</c:v>
                </c:pt>
                <c:pt idx="715">
                  <c:v>0.22807017543859653</c:v>
                </c:pt>
                <c:pt idx="716">
                  <c:v>0.22807017543859653</c:v>
                </c:pt>
                <c:pt idx="717">
                  <c:v>0.22807017543859653</c:v>
                </c:pt>
                <c:pt idx="718">
                  <c:v>0.20175438596491224</c:v>
                </c:pt>
                <c:pt idx="719">
                  <c:v>0.20175438596491224</c:v>
                </c:pt>
                <c:pt idx="720">
                  <c:v>0.14035087719298245</c:v>
                </c:pt>
                <c:pt idx="721">
                  <c:v>0.14035087719298245</c:v>
                </c:pt>
                <c:pt idx="722">
                  <c:v>0.12280701754385959</c:v>
                </c:pt>
                <c:pt idx="723">
                  <c:v>0.14035087719298245</c:v>
                </c:pt>
                <c:pt idx="724">
                  <c:v>0.14035087719298245</c:v>
                </c:pt>
                <c:pt idx="725">
                  <c:v>0.12280701754385959</c:v>
                </c:pt>
                <c:pt idx="726">
                  <c:v>0.20175438596491224</c:v>
                </c:pt>
                <c:pt idx="727">
                  <c:v>0.19649122807017538</c:v>
                </c:pt>
                <c:pt idx="728">
                  <c:v>0.20175438596491224</c:v>
                </c:pt>
                <c:pt idx="729">
                  <c:v>0.20175438596491224</c:v>
                </c:pt>
                <c:pt idx="730">
                  <c:v>0.16666666666666674</c:v>
                </c:pt>
                <c:pt idx="731">
                  <c:v>0.18421052631578938</c:v>
                </c:pt>
                <c:pt idx="732">
                  <c:v>0.18421052631578938</c:v>
                </c:pt>
                <c:pt idx="733">
                  <c:v>0.21403508771929824</c:v>
                </c:pt>
                <c:pt idx="734">
                  <c:v>0.21578947368421053</c:v>
                </c:pt>
                <c:pt idx="735">
                  <c:v>0.21754385964912282</c:v>
                </c:pt>
                <c:pt idx="736">
                  <c:v>0.21754385964912282</c:v>
                </c:pt>
                <c:pt idx="737">
                  <c:v>0.21578947368421053</c:v>
                </c:pt>
                <c:pt idx="738">
                  <c:v>0.22456140350877196</c:v>
                </c:pt>
                <c:pt idx="739">
                  <c:v>0.21228070175438596</c:v>
                </c:pt>
                <c:pt idx="740">
                  <c:v>0.21228070175438596</c:v>
                </c:pt>
                <c:pt idx="741">
                  <c:v>0.21228070175438596</c:v>
                </c:pt>
                <c:pt idx="742">
                  <c:v>0.19649122807017538</c:v>
                </c:pt>
                <c:pt idx="743">
                  <c:v>0.14035087719298245</c:v>
                </c:pt>
                <c:pt idx="744">
                  <c:v>0.20175438596491224</c:v>
                </c:pt>
                <c:pt idx="745">
                  <c:v>0.20175438596491224</c:v>
                </c:pt>
                <c:pt idx="746">
                  <c:v>0.15789473684210509</c:v>
                </c:pt>
                <c:pt idx="747">
                  <c:v>0.15789473684210509</c:v>
                </c:pt>
                <c:pt idx="748">
                  <c:v>0.21052631578947367</c:v>
                </c:pt>
                <c:pt idx="749">
                  <c:v>0.17543859649122817</c:v>
                </c:pt>
                <c:pt idx="750">
                  <c:v>0.21052631578947367</c:v>
                </c:pt>
                <c:pt idx="751">
                  <c:v>0.21052631578947367</c:v>
                </c:pt>
                <c:pt idx="752">
                  <c:v>0.22807017543859653</c:v>
                </c:pt>
                <c:pt idx="753">
                  <c:v>0.22631578947368425</c:v>
                </c:pt>
                <c:pt idx="754">
                  <c:v>0.22807017543859653</c:v>
                </c:pt>
                <c:pt idx="755">
                  <c:v>0.2807017543859649</c:v>
                </c:pt>
                <c:pt idx="756">
                  <c:v>0.21052631578947367</c:v>
                </c:pt>
                <c:pt idx="757">
                  <c:v>0.19298245614035081</c:v>
                </c:pt>
                <c:pt idx="758">
                  <c:v>0.19298245614035081</c:v>
                </c:pt>
                <c:pt idx="759">
                  <c:v>0.19298245614035081</c:v>
                </c:pt>
                <c:pt idx="760">
                  <c:v>0.21052631578947367</c:v>
                </c:pt>
                <c:pt idx="761">
                  <c:v>0.19298245614035081</c:v>
                </c:pt>
                <c:pt idx="762">
                  <c:v>0.21052631578947367</c:v>
                </c:pt>
                <c:pt idx="763">
                  <c:v>0.21052631578947367</c:v>
                </c:pt>
                <c:pt idx="764">
                  <c:v>0.22807017543859653</c:v>
                </c:pt>
                <c:pt idx="765">
                  <c:v>0.2298245614035086</c:v>
                </c:pt>
                <c:pt idx="766">
                  <c:v>0.21578947368421053</c:v>
                </c:pt>
                <c:pt idx="767">
                  <c:v>0.21578947368421053</c:v>
                </c:pt>
                <c:pt idx="768">
                  <c:v>0.2807017543859649</c:v>
                </c:pt>
                <c:pt idx="769">
                  <c:v>0.26315789473684204</c:v>
                </c:pt>
                <c:pt idx="770">
                  <c:v>0.26315789473684204</c:v>
                </c:pt>
                <c:pt idx="771">
                  <c:v>0.21052631578947367</c:v>
                </c:pt>
                <c:pt idx="772">
                  <c:v>0.20175438596491224</c:v>
                </c:pt>
                <c:pt idx="773">
                  <c:v>0.20175438596491224</c:v>
                </c:pt>
                <c:pt idx="774">
                  <c:v>0.18421052631578938</c:v>
                </c:pt>
                <c:pt idx="775">
                  <c:v>0.12280701754385959</c:v>
                </c:pt>
                <c:pt idx="776">
                  <c:v>0.10701754385964901</c:v>
                </c:pt>
                <c:pt idx="777">
                  <c:v>0.12456140350877187</c:v>
                </c:pt>
                <c:pt idx="778">
                  <c:v>0.12456140350877187</c:v>
                </c:pt>
                <c:pt idx="779">
                  <c:v>0.10526315789473673</c:v>
                </c:pt>
                <c:pt idx="780">
                  <c:v>9.9999999999999867E-2</c:v>
                </c:pt>
                <c:pt idx="781">
                  <c:v>8.0701754385964941E-2</c:v>
                </c:pt>
                <c:pt idx="782">
                  <c:v>8.0701754385964941E-2</c:v>
                </c:pt>
                <c:pt idx="783">
                  <c:v>5.4385964912280649E-2</c:v>
                </c:pt>
                <c:pt idx="784">
                  <c:v>5.2631578947368363E-2</c:v>
                </c:pt>
                <c:pt idx="785">
                  <c:v>-1.7543859649122862E-2</c:v>
                </c:pt>
                <c:pt idx="78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6594688"/>
        <c:axId val="549958720"/>
      </c:areaChart>
      <c:lineChart>
        <c:grouping val="standard"/>
        <c:varyColors val="0"/>
        <c:ser>
          <c:idx val="0"/>
          <c:order val="0"/>
          <c:tx>
            <c:strRef>
              <c:f>'ShareMonitor figures'!$B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B$11:$B$846</c:f>
            </c:numRef>
          </c:val>
          <c:smooth val="0"/>
          <c:extLst>
            <c:ext xmlns:c16="http://schemas.microsoft.com/office/drawing/2014/chart" uri="{C3380CC4-5D6E-409C-BE32-E72D297353CC}">
              <c16:uniqueId val="{00000001-E0AF-4119-95CD-8C1FB2BE1CE7}"/>
            </c:ext>
          </c:extLst>
        </c:ser>
        <c:ser>
          <c:idx val="1"/>
          <c:order val="1"/>
          <c:tx>
            <c:strRef>
              <c:f>'ShareMonitor figures'!$C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C$11:$C$846</c:f>
            </c:numRef>
          </c:val>
          <c:smooth val="0"/>
          <c:extLst>
            <c:ext xmlns:c16="http://schemas.microsoft.com/office/drawing/2014/chart" uri="{C3380CC4-5D6E-409C-BE32-E72D297353CC}">
              <c16:uniqueId val="{00000002-E0AF-4119-95CD-8C1FB2BE1CE7}"/>
            </c:ext>
          </c:extLst>
        </c:ser>
        <c:ser>
          <c:idx val="2"/>
          <c:order val="2"/>
          <c:tx>
            <c:strRef>
              <c:f>'ShareMonitor figures'!$D$10</c:f>
              <c:strCache>
                <c:ptCount val="1"/>
                <c:pt idx="0">
                  <c:v>Open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D$11:$D$846</c:f>
            </c:numRef>
          </c:val>
          <c:smooth val="0"/>
          <c:extLst>
            <c:ext xmlns:c16="http://schemas.microsoft.com/office/drawing/2014/chart" uri="{C3380CC4-5D6E-409C-BE32-E72D297353CC}">
              <c16:uniqueId val="{00000003-E0AF-4119-95CD-8C1FB2BE1CE7}"/>
            </c:ext>
          </c:extLst>
        </c:ser>
        <c:ser>
          <c:idx val="3"/>
          <c:order val="3"/>
          <c:tx>
            <c:strRef>
              <c:f>'ShareMonitor figures'!$E$10</c:f>
              <c:strCache>
                <c:ptCount val="1"/>
                <c:pt idx="0">
                  <c:v>High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E$11:$E$846</c:f>
            </c:numRef>
          </c:val>
          <c:smooth val="0"/>
          <c:extLst>
            <c:ext xmlns:c16="http://schemas.microsoft.com/office/drawing/2014/chart" uri="{C3380CC4-5D6E-409C-BE32-E72D297353CC}">
              <c16:uniqueId val="{00000004-E0AF-4119-95CD-8C1FB2BE1CE7}"/>
            </c:ext>
          </c:extLst>
        </c:ser>
        <c:ser>
          <c:idx val="4"/>
          <c:order val="4"/>
          <c:tx>
            <c:strRef>
              <c:f>'ShareMonitor figures'!$F$10</c:f>
              <c:strCache>
                <c:ptCount val="1"/>
                <c:pt idx="0">
                  <c:v>Low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F$11:$F$846</c:f>
            </c:numRef>
          </c:val>
          <c:smooth val="0"/>
          <c:extLst>
            <c:ext xmlns:c16="http://schemas.microsoft.com/office/drawing/2014/chart" uri="{C3380CC4-5D6E-409C-BE32-E72D297353CC}">
              <c16:uniqueId val="{00000005-E0AF-4119-95CD-8C1FB2BE1CE7}"/>
            </c:ext>
          </c:extLst>
        </c:ser>
        <c:ser>
          <c:idx val="5"/>
          <c:order val="5"/>
          <c:tx>
            <c:strRef>
              <c:f>'ShareMonitor figures'!$G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G$11:$G$846</c:f>
            </c:numRef>
          </c:val>
          <c:smooth val="0"/>
          <c:extLst>
            <c:ext xmlns:c16="http://schemas.microsoft.com/office/drawing/2014/chart" uri="{C3380CC4-5D6E-409C-BE32-E72D297353CC}">
              <c16:uniqueId val="{00000006-E0AF-4119-95CD-8C1FB2BE1CE7}"/>
            </c:ext>
          </c:extLst>
        </c:ser>
        <c:ser>
          <c:idx val="6"/>
          <c:order val="6"/>
          <c:tx>
            <c:strRef>
              <c:f>'ShareMonitor figures'!$H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H$11:$H$846</c:f>
            </c:numRef>
          </c:val>
          <c:smooth val="0"/>
          <c:extLst>
            <c:ext xmlns:c16="http://schemas.microsoft.com/office/drawing/2014/chart" uri="{C3380CC4-5D6E-409C-BE32-E72D297353CC}">
              <c16:uniqueId val="{00000007-E0AF-4119-95CD-8C1FB2BE1CE7}"/>
            </c:ext>
          </c:extLst>
        </c:ser>
        <c:ser>
          <c:idx val="8"/>
          <c:order val="8"/>
          <c:tx>
            <c:strRef>
              <c:f>'ShareMonitor figures'!$J$10</c:f>
              <c:strCache>
                <c:ptCount val="1"/>
                <c:pt idx="0">
                  <c:v>RTS</c:v>
                </c:pt>
              </c:strCache>
            </c:strRef>
          </c:tx>
          <c:spPr>
            <a:ln w="19050">
              <a:solidFill>
                <a:srgbClr val="003864"/>
              </a:solidFill>
            </a:ln>
          </c:spPr>
          <c:marker>
            <c:symbol val="none"/>
          </c:marke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J$11:$J$846</c:f>
              <c:numCache>
                <c:formatCode>0%</c:formatCode>
                <c:ptCount val="787"/>
                <c:pt idx="0">
                  <c:v>0.14829695701937884</c:v>
                </c:pt>
                <c:pt idx="1">
                  <c:v>0.14144531712515307</c:v>
                </c:pt>
                <c:pt idx="2">
                  <c:v>0.14098748865295829</c:v>
                </c:pt>
                <c:pt idx="3">
                  <c:v>0.15151754351343882</c:v>
                </c:pt>
                <c:pt idx="4">
                  <c:v>0.16107668626909288</c:v>
                </c:pt>
                <c:pt idx="5">
                  <c:v>0.17277499309310507</c:v>
                </c:pt>
                <c:pt idx="6">
                  <c:v>0.17562458065280029</c:v>
                </c:pt>
                <c:pt idx="7">
                  <c:v>0.16732051939850812</c:v>
                </c:pt>
                <c:pt idx="8">
                  <c:v>0.17953980344950082</c:v>
                </c:pt>
                <c:pt idx="9">
                  <c:v>0.21376642854323724</c:v>
                </c:pt>
                <c:pt idx="10">
                  <c:v>0.21224296483403737</c:v>
                </c:pt>
                <c:pt idx="11">
                  <c:v>0.20861980502821975</c:v>
                </c:pt>
                <c:pt idx="12">
                  <c:v>0.21762639617950041</c:v>
                </c:pt>
                <c:pt idx="13">
                  <c:v>0.21551091289418634</c:v>
                </c:pt>
                <c:pt idx="15">
                  <c:v>0.20936969649129744</c:v>
                </c:pt>
                <c:pt idx="16">
                  <c:v>0.20718317085684967</c:v>
                </c:pt>
                <c:pt idx="17">
                  <c:v>0.20246280143663409</c:v>
                </c:pt>
                <c:pt idx="18">
                  <c:v>0.18308402731183659</c:v>
                </c:pt>
                <c:pt idx="19">
                  <c:v>0.19177487468918986</c:v>
                </c:pt>
                <c:pt idx="20">
                  <c:v>0.21120101038007677</c:v>
                </c:pt>
                <c:pt idx="21">
                  <c:v>0.2081304021786321</c:v>
                </c:pt>
                <c:pt idx="22">
                  <c:v>0.20836721000907765</c:v>
                </c:pt>
                <c:pt idx="23">
                  <c:v>0.23540277065161619</c:v>
                </c:pt>
                <c:pt idx="24">
                  <c:v>0.22432805778111065</c:v>
                </c:pt>
                <c:pt idx="25">
                  <c:v>0.22252831826972419</c:v>
                </c:pt>
                <c:pt idx="26">
                  <c:v>0.24926392232703187</c:v>
                </c:pt>
                <c:pt idx="27">
                  <c:v>0.25724434621304826</c:v>
                </c:pt>
                <c:pt idx="28">
                  <c:v>0.24612227177645352</c:v>
                </c:pt>
                <c:pt idx="29">
                  <c:v>0.24502506216205555</c:v>
                </c:pt>
                <c:pt idx="30">
                  <c:v>0.25374748391680146</c:v>
                </c:pt>
                <c:pt idx="31">
                  <c:v>0.27296049256028754</c:v>
                </c:pt>
                <c:pt idx="32">
                  <c:v>0.24904290168528243</c:v>
                </c:pt>
                <c:pt idx="33">
                  <c:v>0.24872715791135502</c:v>
                </c:pt>
                <c:pt idx="34">
                  <c:v>0.25518411808817154</c:v>
                </c:pt>
                <c:pt idx="35">
                  <c:v>0.25931246793227292</c:v>
                </c:pt>
                <c:pt idx="36">
                  <c:v>0.26533528041993937</c:v>
                </c:pt>
                <c:pt idx="37">
                  <c:v>0.27409717014642609</c:v>
                </c:pt>
                <c:pt idx="38">
                  <c:v>0.27285787583376098</c:v>
                </c:pt>
                <c:pt idx="39">
                  <c:v>0.2853218613095474</c:v>
                </c:pt>
                <c:pt idx="40">
                  <c:v>0.28044362000236833</c:v>
                </c:pt>
                <c:pt idx="41">
                  <c:v>0.2777913723013774</c:v>
                </c:pt>
                <c:pt idx="42">
                  <c:v>0.28181710541895244</c:v>
                </c:pt>
                <c:pt idx="43">
                  <c:v>0.29099735564589335</c:v>
                </c:pt>
                <c:pt idx="44">
                  <c:v>0.27784662746181477</c:v>
                </c:pt>
                <c:pt idx="45">
                  <c:v>0.2666456170817384</c:v>
                </c:pt>
                <c:pt idx="46">
                  <c:v>0.26720606228045951</c:v>
                </c:pt>
                <c:pt idx="47">
                  <c:v>0.2543079291155228</c:v>
                </c:pt>
                <c:pt idx="48">
                  <c:v>0.26307771243635814</c:v>
                </c:pt>
                <c:pt idx="49">
                  <c:v>0.26573785373169678</c:v>
                </c:pt>
                <c:pt idx="50">
                  <c:v>0.25148202233887207</c:v>
                </c:pt>
                <c:pt idx="51">
                  <c:v>0.24020207601531363</c:v>
                </c:pt>
                <c:pt idx="52">
                  <c:v>0.24445672336898605</c:v>
                </c:pt>
                <c:pt idx="53">
                  <c:v>0.25524726684295707</c:v>
                </c:pt>
                <c:pt idx="54">
                  <c:v>0.2406599044875084</c:v>
                </c:pt>
                <c:pt idx="55">
                  <c:v>0.24087303153490947</c:v>
                </c:pt>
                <c:pt idx="56">
                  <c:v>0.23818131586217794</c:v>
                </c:pt>
                <c:pt idx="57">
                  <c:v>0.24410940521766578</c:v>
                </c:pt>
                <c:pt idx="62">
                  <c:v>0.21170620041836052</c:v>
                </c:pt>
                <c:pt idx="63">
                  <c:v>0.19365355014405816</c:v>
                </c:pt>
                <c:pt idx="64">
                  <c:v>0.20684374629987778</c:v>
                </c:pt>
                <c:pt idx="65">
                  <c:v>0.19306153056794417</c:v>
                </c:pt>
                <c:pt idx="66">
                  <c:v>0.17710068279591118</c:v>
                </c:pt>
                <c:pt idx="67">
                  <c:v>0.18474168212495568</c:v>
                </c:pt>
                <c:pt idx="68">
                  <c:v>0.18378655720882509</c:v>
                </c:pt>
                <c:pt idx="70">
                  <c:v>0.17180408098827815</c:v>
                </c:pt>
                <c:pt idx="71">
                  <c:v>0.1688676638907527</c:v>
                </c:pt>
                <c:pt idx="72">
                  <c:v>0.16121877096736004</c:v>
                </c:pt>
                <c:pt idx="73">
                  <c:v>0.15799029087895189</c:v>
                </c:pt>
                <c:pt idx="74">
                  <c:v>0.15999526384339124</c:v>
                </c:pt>
                <c:pt idx="75">
                  <c:v>0.13973240715159641</c:v>
                </c:pt>
                <c:pt idx="76">
                  <c:v>0.14590519793187839</c:v>
                </c:pt>
                <c:pt idx="77">
                  <c:v>0.13395429608872411</c:v>
                </c:pt>
                <c:pt idx="78">
                  <c:v>0.10303508702687791</c:v>
                </c:pt>
                <c:pt idx="79">
                  <c:v>0.11899593479891069</c:v>
                </c:pt>
                <c:pt idx="80">
                  <c:v>0.1263843391088133</c:v>
                </c:pt>
                <c:pt idx="81">
                  <c:v>0.12165607609424955</c:v>
                </c:pt>
                <c:pt idx="82">
                  <c:v>0.10793700911710147</c:v>
                </c:pt>
                <c:pt idx="83">
                  <c:v>0.10486640091565702</c:v>
                </c:pt>
                <c:pt idx="84">
                  <c:v>8.6237518253936996E-2</c:v>
                </c:pt>
                <c:pt idx="85">
                  <c:v>7.9172751312310163E-2</c:v>
                </c:pt>
                <c:pt idx="86">
                  <c:v>7.639420610174863E-2</c:v>
                </c:pt>
                <c:pt idx="87">
                  <c:v>0.10846587993842993</c:v>
                </c:pt>
                <c:pt idx="88">
                  <c:v>0.10341397955559062</c:v>
                </c:pt>
                <c:pt idx="89">
                  <c:v>0.12636855192011698</c:v>
                </c:pt>
                <c:pt idx="90">
                  <c:v>0.14376603386351983</c:v>
                </c:pt>
                <c:pt idx="92">
                  <c:v>0.1399850021707385</c:v>
                </c:pt>
                <c:pt idx="93">
                  <c:v>0.13944034416071371</c:v>
                </c:pt>
                <c:pt idx="94">
                  <c:v>0.13190985515254372</c:v>
                </c:pt>
                <c:pt idx="95">
                  <c:v>0.12886292773414376</c:v>
                </c:pt>
                <c:pt idx="96">
                  <c:v>0.13277025693649613</c:v>
                </c:pt>
                <c:pt idx="97">
                  <c:v>0.13776690215889831</c:v>
                </c:pt>
                <c:pt idx="98">
                  <c:v>0.15002565418163183</c:v>
                </c:pt>
                <c:pt idx="99">
                  <c:v>0.15438291826183059</c:v>
                </c:pt>
                <c:pt idx="100">
                  <c:v>0.14988356948336445</c:v>
                </c:pt>
                <c:pt idx="101">
                  <c:v>0.17965031377037555</c:v>
                </c:pt>
                <c:pt idx="102">
                  <c:v>0.19351935904013895</c:v>
                </c:pt>
                <c:pt idx="103">
                  <c:v>0.19505860993803537</c:v>
                </c:pt>
                <c:pt idx="104">
                  <c:v>0.17470892370841073</c:v>
                </c:pt>
                <c:pt idx="105">
                  <c:v>0.15784820618068451</c:v>
                </c:pt>
                <c:pt idx="106">
                  <c:v>0.1622212574495796</c:v>
                </c:pt>
                <c:pt idx="107">
                  <c:v>0.17646919524805638</c:v>
                </c:pt>
                <c:pt idx="108">
                  <c:v>0.17128310376129763</c:v>
                </c:pt>
                <c:pt idx="109">
                  <c:v>0.17942929312862632</c:v>
                </c:pt>
                <c:pt idx="110">
                  <c:v>0.17812685006117546</c:v>
                </c:pt>
                <c:pt idx="111">
                  <c:v>0.19092236649958561</c:v>
                </c:pt>
                <c:pt idx="112">
                  <c:v>0.17064372261909466</c:v>
                </c:pt>
                <c:pt idx="113">
                  <c:v>0.17796108457986359</c:v>
                </c:pt>
                <c:pt idx="114">
                  <c:v>0.19017247503650792</c:v>
                </c:pt>
                <c:pt idx="115">
                  <c:v>0.19494020602281248</c:v>
                </c:pt>
                <c:pt idx="116">
                  <c:v>0.16485771796187398</c:v>
                </c:pt>
                <c:pt idx="117">
                  <c:v>0.16411572009314446</c:v>
                </c:pt>
                <c:pt idx="118">
                  <c:v>0.15008880293641713</c:v>
                </c:pt>
                <c:pt idx="119">
                  <c:v>0.19269053163357941</c:v>
                </c:pt>
                <c:pt idx="120">
                  <c:v>0.19160121561352961</c:v>
                </c:pt>
                <c:pt idx="121">
                  <c:v>0.19657418005288729</c:v>
                </c:pt>
                <c:pt idx="122">
                  <c:v>0.19791609109207875</c:v>
                </c:pt>
                <c:pt idx="123">
                  <c:v>0.22172317164620914</c:v>
                </c:pt>
                <c:pt idx="124">
                  <c:v>0.24894028495875609</c:v>
                </c:pt>
                <c:pt idx="125">
                  <c:v>0.2546078857007541</c:v>
                </c:pt>
                <c:pt idx="126">
                  <c:v>0.17210403757350923</c:v>
                </c:pt>
                <c:pt idx="127">
                  <c:v>0.17023325571298908</c:v>
                </c:pt>
                <c:pt idx="128">
                  <c:v>0.16829143150333503</c:v>
                </c:pt>
                <c:pt idx="129">
                  <c:v>0.16544184394363981</c:v>
                </c:pt>
                <c:pt idx="130">
                  <c:v>0.16177921616608137</c:v>
                </c:pt>
                <c:pt idx="131">
                  <c:v>0.13460157082527524</c:v>
                </c:pt>
                <c:pt idx="132">
                  <c:v>9.8014761021431251E-2</c:v>
                </c:pt>
                <c:pt idx="133">
                  <c:v>0.1096104511189171</c:v>
                </c:pt>
                <c:pt idx="134">
                  <c:v>0.10987093973240714</c:v>
                </c:pt>
                <c:pt idx="135">
                  <c:v>9.6988593756166974E-2</c:v>
                </c:pt>
                <c:pt idx="136">
                  <c:v>0.11312310060386022</c:v>
                </c:pt>
                <c:pt idx="137">
                  <c:v>0.12789990922366523</c:v>
                </c:pt>
                <c:pt idx="138">
                  <c:v>0.12999171172593438</c:v>
                </c:pt>
                <c:pt idx="139">
                  <c:v>0.1341832103248215</c:v>
                </c:pt>
                <c:pt idx="140">
                  <c:v>0.13899830287721526</c:v>
                </c:pt>
                <c:pt idx="141">
                  <c:v>0.13882464380155524</c:v>
                </c:pt>
                <c:pt idx="142">
                  <c:v>0.10790543473970882</c:v>
                </c:pt>
                <c:pt idx="143">
                  <c:v>0.11834866006235956</c:v>
                </c:pt>
                <c:pt idx="144">
                  <c:v>0.12962860638591778</c:v>
                </c:pt>
                <c:pt idx="145">
                  <c:v>0.12667640209969622</c:v>
                </c:pt>
                <c:pt idx="146">
                  <c:v>0.14045861783162961</c:v>
                </c:pt>
                <c:pt idx="147">
                  <c:v>0.10378497848995538</c:v>
                </c:pt>
                <c:pt idx="148">
                  <c:v>8.7224217547460237E-2</c:v>
                </c:pt>
                <c:pt idx="149">
                  <c:v>8.0388364841930793E-2</c:v>
                </c:pt>
                <c:pt idx="150">
                  <c:v>-1.9276157398271154E-2</c:v>
                </c:pt>
                <c:pt idx="151">
                  <c:v>5.0597939771874767E-3</c:v>
                </c:pt>
                <c:pt idx="152">
                  <c:v>3.1716462091013087E-2</c:v>
                </c:pt>
                <c:pt idx="153">
                  <c:v>-2.0207601531356811E-3</c:v>
                </c:pt>
                <c:pt idx="154">
                  <c:v>4.3430556103721818E-2</c:v>
                </c:pt>
                <c:pt idx="155">
                  <c:v>4.0604649327071085E-2</c:v>
                </c:pt>
                <c:pt idx="156">
                  <c:v>1.7847416821249684E-2</c:v>
                </c:pt>
                <c:pt idx="157">
                  <c:v>3.6768362473852623E-2</c:v>
                </c:pt>
                <c:pt idx="158">
                  <c:v>8.443777874255054E-2</c:v>
                </c:pt>
                <c:pt idx="159">
                  <c:v>0.10571101551091289</c:v>
                </c:pt>
                <c:pt idx="160">
                  <c:v>0.10646880056833896</c:v>
                </c:pt>
                <c:pt idx="161">
                  <c:v>0.15604057307494967</c:v>
                </c:pt>
                <c:pt idx="162">
                  <c:v>0.17571141019063052</c:v>
                </c:pt>
                <c:pt idx="164">
                  <c:v>0.16908868453250192</c:v>
                </c:pt>
                <c:pt idx="165">
                  <c:v>0.17507202904842734</c:v>
                </c:pt>
                <c:pt idx="166">
                  <c:v>0.18249990133007077</c:v>
                </c:pt>
                <c:pt idx="167">
                  <c:v>0.23148754785491565</c:v>
                </c:pt>
                <c:pt idx="168">
                  <c:v>0.23858388917393536</c:v>
                </c:pt>
                <c:pt idx="170">
                  <c:v>0.25839681098788336</c:v>
                </c:pt>
                <c:pt idx="171">
                  <c:v>0.24293325965978618</c:v>
                </c:pt>
                <c:pt idx="172">
                  <c:v>0.24988751628053851</c:v>
                </c:pt>
                <c:pt idx="173">
                  <c:v>0.24420412834984417</c:v>
                </c:pt>
                <c:pt idx="174">
                  <c:v>0.24156766783755002</c:v>
                </c:pt>
                <c:pt idx="175">
                  <c:v>0.27839128547183978</c:v>
                </c:pt>
                <c:pt idx="176">
                  <c:v>0.27052137190669767</c:v>
                </c:pt>
                <c:pt idx="177">
                  <c:v>0.24960334688400376</c:v>
                </c:pt>
                <c:pt idx="178">
                  <c:v>0.25145044796147942</c:v>
                </c:pt>
                <c:pt idx="179">
                  <c:v>0.25317125152938402</c:v>
                </c:pt>
                <c:pt idx="180">
                  <c:v>0.273031534909421</c:v>
                </c:pt>
                <c:pt idx="181">
                  <c:v>0.27891226269882008</c:v>
                </c:pt>
                <c:pt idx="182">
                  <c:v>0.27536014524213615</c:v>
                </c:pt>
                <c:pt idx="183">
                  <c:v>0.26848482456486567</c:v>
                </c:pt>
                <c:pt idx="184">
                  <c:v>0.29661759482180217</c:v>
                </c:pt>
                <c:pt idx="185">
                  <c:v>0.28840036310534023</c:v>
                </c:pt>
                <c:pt idx="186">
                  <c:v>0.32754469747799675</c:v>
                </c:pt>
                <c:pt idx="187">
                  <c:v>0.29707542329399694</c:v>
                </c:pt>
                <c:pt idx="188">
                  <c:v>0.29275762718553899</c:v>
                </c:pt>
                <c:pt idx="189">
                  <c:v>0.27356040573074969</c:v>
                </c:pt>
                <c:pt idx="190">
                  <c:v>0.3004223072976282</c:v>
                </c:pt>
                <c:pt idx="191">
                  <c:v>0.34165844417255409</c:v>
                </c:pt>
                <c:pt idx="192">
                  <c:v>0.35205430792911563</c:v>
                </c:pt>
                <c:pt idx="193">
                  <c:v>0.31697517464577518</c:v>
                </c:pt>
                <c:pt idx="194">
                  <c:v>0.30544263330307464</c:v>
                </c:pt>
                <c:pt idx="195">
                  <c:v>0.33157832418991995</c:v>
                </c:pt>
                <c:pt idx="196">
                  <c:v>0.33644077830840269</c:v>
                </c:pt>
                <c:pt idx="197">
                  <c:v>0.35967162647511564</c:v>
                </c:pt>
                <c:pt idx="198">
                  <c:v>0.38005288708213292</c:v>
                </c:pt>
                <c:pt idx="199">
                  <c:v>0.38517582981410592</c:v>
                </c:pt>
                <c:pt idx="200">
                  <c:v>0.38297351699096183</c:v>
                </c:pt>
                <c:pt idx="201">
                  <c:v>0.36552077988712184</c:v>
                </c:pt>
                <c:pt idx="202">
                  <c:v>0.3530567944113352</c:v>
                </c:pt>
                <c:pt idx="205">
                  <c:v>0.32392153767217913</c:v>
                </c:pt>
                <c:pt idx="206">
                  <c:v>0.32334530528476146</c:v>
                </c:pt>
                <c:pt idx="207">
                  <c:v>0.38309192090618471</c:v>
                </c:pt>
                <c:pt idx="208">
                  <c:v>0.36301061688439851</c:v>
                </c:pt>
                <c:pt idx="209">
                  <c:v>0.3605162410703715</c:v>
                </c:pt>
                <c:pt idx="210">
                  <c:v>0.36953072581600033</c:v>
                </c:pt>
                <c:pt idx="211">
                  <c:v>0.34835221217981616</c:v>
                </c:pt>
                <c:pt idx="212">
                  <c:v>0.36411572009314463</c:v>
                </c:pt>
                <c:pt idx="213">
                  <c:v>0.3593164147294472</c:v>
                </c:pt>
                <c:pt idx="215">
                  <c:v>0.2961360855665629</c:v>
                </c:pt>
                <c:pt idx="216">
                  <c:v>0.30666614042704343</c:v>
                </c:pt>
                <c:pt idx="217">
                  <c:v>0.32160082093381237</c:v>
                </c:pt>
                <c:pt idx="218">
                  <c:v>0.30765283972056667</c:v>
                </c:pt>
                <c:pt idx="219">
                  <c:v>0.29574140584915343</c:v>
                </c:pt>
                <c:pt idx="220">
                  <c:v>0.31141019063030351</c:v>
                </c:pt>
                <c:pt idx="221">
                  <c:v>0.29778584678533382</c:v>
                </c:pt>
                <c:pt idx="222">
                  <c:v>0.29923826814540022</c:v>
                </c:pt>
                <c:pt idx="223">
                  <c:v>0.26554051387299227</c:v>
                </c:pt>
                <c:pt idx="224">
                  <c:v>0.29304179658207374</c:v>
                </c:pt>
                <c:pt idx="225">
                  <c:v>0.2973359119074872</c:v>
                </c:pt>
                <c:pt idx="226">
                  <c:v>0.28851087342621473</c:v>
                </c:pt>
                <c:pt idx="227">
                  <c:v>0.28386154635513283</c:v>
                </c:pt>
                <c:pt idx="228">
                  <c:v>0.28318269724118883</c:v>
                </c:pt>
                <c:pt idx="229">
                  <c:v>0.26533528041993937</c:v>
                </c:pt>
                <c:pt idx="230">
                  <c:v>0.2626277775585113</c:v>
                </c:pt>
                <c:pt idx="231">
                  <c:v>0.24504874294510004</c:v>
                </c:pt>
                <c:pt idx="232">
                  <c:v>0.22081540829616775</c:v>
                </c:pt>
                <c:pt idx="233">
                  <c:v>0.23599479022773018</c:v>
                </c:pt>
                <c:pt idx="234">
                  <c:v>0.24169396534712084</c:v>
                </c:pt>
                <c:pt idx="235">
                  <c:v>0.21098788333267571</c:v>
                </c:pt>
                <c:pt idx="236">
                  <c:v>0.1958242885898096</c:v>
                </c:pt>
                <c:pt idx="237">
                  <c:v>0.20185499467182377</c:v>
                </c:pt>
                <c:pt idx="238">
                  <c:v>0.18120535185696829</c:v>
                </c:pt>
                <c:pt idx="239">
                  <c:v>0.18710976042941163</c:v>
                </c:pt>
                <c:pt idx="240">
                  <c:v>0.17485890200102627</c:v>
                </c:pt>
                <c:pt idx="241">
                  <c:v>0.16533922721711325</c:v>
                </c:pt>
                <c:pt idx="242">
                  <c:v>0.14877057268026994</c:v>
                </c:pt>
                <c:pt idx="243">
                  <c:v>0.1417768480877768</c:v>
                </c:pt>
                <c:pt idx="244">
                  <c:v>0.15107550222994059</c:v>
                </c:pt>
                <c:pt idx="245">
                  <c:v>0.14669455736669712</c:v>
                </c:pt>
                <c:pt idx="246">
                  <c:v>0.16016892291905127</c:v>
                </c:pt>
                <c:pt idx="247">
                  <c:v>0.12888660851718847</c:v>
                </c:pt>
                <c:pt idx="248">
                  <c:v>0.12381102735130445</c:v>
                </c:pt>
                <c:pt idx="249">
                  <c:v>0.11732249279709528</c:v>
                </c:pt>
                <c:pt idx="250">
                  <c:v>0.13209140782255213</c:v>
                </c:pt>
                <c:pt idx="251">
                  <c:v>0.13212298219994478</c:v>
                </c:pt>
                <c:pt idx="253">
                  <c:v>9.0792122192840496E-2</c:v>
                </c:pt>
                <c:pt idx="254">
                  <c:v>7.7578245253976608E-2</c:v>
                </c:pt>
                <c:pt idx="255">
                  <c:v>9.1044717211982595E-2</c:v>
                </c:pt>
                <c:pt idx="256">
                  <c:v>0.10392706318822276</c:v>
                </c:pt>
                <c:pt idx="257">
                  <c:v>0.10046177526936884</c:v>
                </c:pt>
                <c:pt idx="258">
                  <c:v>0.1019694517898726</c:v>
                </c:pt>
                <c:pt idx="259">
                  <c:v>9.1289418636776309E-2</c:v>
                </c:pt>
                <c:pt idx="260">
                  <c:v>0.10178000552551603</c:v>
                </c:pt>
                <c:pt idx="261">
                  <c:v>8.1509255239373246E-2</c:v>
                </c:pt>
                <c:pt idx="262">
                  <c:v>8.4366736393416852E-2</c:v>
                </c:pt>
                <c:pt idx="263">
                  <c:v>0.10137743221375861</c:v>
                </c:pt>
                <c:pt idx="264">
                  <c:v>8.1146149899356868E-2</c:v>
                </c:pt>
                <c:pt idx="265">
                  <c:v>9.4944152819986805E-2</c:v>
                </c:pt>
                <c:pt idx="266">
                  <c:v>7.6425780479141281E-2</c:v>
                </c:pt>
                <c:pt idx="267">
                  <c:v>0.11321782373603817</c:v>
                </c:pt>
                <c:pt idx="268">
                  <c:v>0.16316848877136203</c:v>
                </c:pt>
                <c:pt idx="269">
                  <c:v>0.15853494888897668</c:v>
                </c:pt>
                <c:pt idx="270">
                  <c:v>0.17272763152701587</c:v>
                </c:pt>
                <c:pt idx="271">
                  <c:v>0.23083237952401636</c:v>
                </c:pt>
                <c:pt idx="272">
                  <c:v>0.2200102616726527</c:v>
                </c:pt>
                <c:pt idx="273">
                  <c:v>0.22090223783399776</c:v>
                </c:pt>
                <c:pt idx="274">
                  <c:v>0.21625291076291586</c:v>
                </c:pt>
                <c:pt idx="275">
                  <c:v>0.15748510084066791</c:v>
                </c:pt>
                <c:pt idx="276">
                  <c:v>0.1155069660970125</c:v>
                </c:pt>
                <c:pt idx="277">
                  <c:v>0.10733709594663932</c:v>
                </c:pt>
                <c:pt idx="278">
                  <c:v>0.12246911631211277</c:v>
                </c:pt>
                <c:pt idx="279">
                  <c:v>0.12481351383352424</c:v>
                </c:pt>
                <c:pt idx="280">
                  <c:v>0.19404033626711947</c:v>
                </c:pt>
                <c:pt idx="281">
                  <c:v>0.20533606977937424</c:v>
                </c:pt>
                <c:pt idx="282">
                  <c:v>0.20547815447764162</c:v>
                </c:pt>
                <c:pt idx="283">
                  <c:v>0.20827248687689948</c:v>
                </c:pt>
                <c:pt idx="284">
                  <c:v>0.20749102103642914</c:v>
                </c:pt>
                <c:pt idx="285">
                  <c:v>0.19418242096538663</c:v>
                </c:pt>
                <c:pt idx="286">
                  <c:v>0.24704582231519123</c:v>
                </c:pt>
                <c:pt idx="287">
                  <c:v>0.23395824288589817</c:v>
                </c:pt>
                <c:pt idx="289">
                  <c:v>0.21750009866992959</c:v>
                </c:pt>
                <c:pt idx="290">
                  <c:v>0.20471247582586738</c:v>
                </c:pt>
                <c:pt idx="291">
                  <c:v>0.23398981726329082</c:v>
                </c:pt>
                <c:pt idx="292">
                  <c:v>0.27112128507715982</c:v>
                </c:pt>
                <c:pt idx="293">
                  <c:v>0.2573943245056638</c:v>
                </c:pt>
                <c:pt idx="294">
                  <c:v>0.20780676481035631</c:v>
                </c:pt>
                <c:pt idx="295">
                  <c:v>0.19100130244306746</c:v>
                </c:pt>
                <c:pt idx="296">
                  <c:v>0.14988356948336445</c:v>
                </c:pt>
                <c:pt idx="297">
                  <c:v>0.13559616371314687</c:v>
                </c:pt>
                <c:pt idx="298">
                  <c:v>0.12666061491099967</c:v>
                </c:pt>
                <c:pt idx="299">
                  <c:v>0.14400284169396538</c:v>
                </c:pt>
                <c:pt idx="300">
                  <c:v>0.10215889805422895</c:v>
                </c:pt>
                <c:pt idx="301">
                  <c:v>6.9747799660575538E-2</c:v>
                </c:pt>
                <c:pt idx="302">
                  <c:v>7.805186091486771E-2</c:v>
                </c:pt>
                <c:pt idx="303">
                  <c:v>3.5568536132928319E-2</c:v>
                </c:pt>
                <c:pt idx="304">
                  <c:v>3.8362868532186845E-3</c:v>
                </c:pt>
                <c:pt idx="305">
                  <c:v>-3.9183802344397445E-2</c:v>
                </c:pt>
                <c:pt idx="306">
                  <c:v>-3.3097841101945691E-2</c:v>
                </c:pt>
                <c:pt idx="307">
                  <c:v>1.9615581955243488E-2</c:v>
                </c:pt>
                <c:pt idx="308">
                  <c:v>5.8602044440936085E-2</c:v>
                </c:pt>
                <c:pt idx="309">
                  <c:v>7.934641038797019E-2</c:v>
                </c:pt>
                <c:pt idx="310">
                  <c:v>8.1367170541106093E-2</c:v>
                </c:pt>
                <c:pt idx="311">
                  <c:v>3.8757548249595652E-2</c:v>
                </c:pt>
                <c:pt idx="312">
                  <c:v>9.5520385207404246E-2</c:v>
                </c:pt>
                <c:pt idx="313">
                  <c:v>0.19875281209298667</c:v>
                </c:pt>
                <c:pt idx="314">
                  <c:v>0.21215613529620714</c:v>
                </c:pt>
                <c:pt idx="315">
                  <c:v>0.2045703911276</c:v>
                </c:pt>
                <c:pt idx="316">
                  <c:v>0.24319374827327644</c:v>
                </c:pt>
                <c:pt idx="317">
                  <c:v>0.26565102419386677</c:v>
                </c:pt>
                <c:pt idx="318">
                  <c:v>0.23959426925050331</c:v>
                </c:pt>
                <c:pt idx="319">
                  <c:v>0.24087303153490947</c:v>
                </c:pt>
                <c:pt idx="320">
                  <c:v>0.32228756364210454</c:v>
                </c:pt>
                <c:pt idx="321">
                  <c:v>0.31803291628843211</c:v>
                </c:pt>
                <c:pt idx="322">
                  <c:v>0.2776808619805029</c:v>
                </c:pt>
                <c:pt idx="323">
                  <c:v>0.27640209969609675</c:v>
                </c:pt>
                <c:pt idx="324">
                  <c:v>0.34495796661009592</c:v>
                </c:pt>
                <c:pt idx="325">
                  <c:v>0.34371077870308242</c:v>
                </c:pt>
                <c:pt idx="326">
                  <c:v>0.31219165647077407</c:v>
                </c:pt>
                <c:pt idx="327">
                  <c:v>0.31638315506966119</c:v>
                </c:pt>
                <c:pt idx="328">
                  <c:v>0.2599518490744761</c:v>
                </c:pt>
                <c:pt idx="329">
                  <c:v>0.2503216639696888</c:v>
                </c:pt>
                <c:pt idx="330">
                  <c:v>0.26378813592769479</c:v>
                </c:pt>
                <c:pt idx="331">
                  <c:v>0.24632750522950642</c:v>
                </c:pt>
                <c:pt idx="332">
                  <c:v>0.24596439988948982</c:v>
                </c:pt>
                <c:pt idx="333">
                  <c:v>0.24350159845285546</c:v>
                </c:pt>
                <c:pt idx="334">
                  <c:v>0.25050321663969699</c:v>
                </c:pt>
                <c:pt idx="335">
                  <c:v>0.31338358921735021</c:v>
                </c:pt>
                <c:pt idx="336">
                  <c:v>0.28847929904882186</c:v>
                </c:pt>
                <c:pt idx="337">
                  <c:v>0.30641354540790156</c:v>
                </c:pt>
                <c:pt idx="338">
                  <c:v>0.25877570351659651</c:v>
                </c:pt>
                <c:pt idx="339">
                  <c:v>0.21942613569088687</c:v>
                </c:pt>
                <c:pt idx="340">
                  <c:v>0.21369538619410355</c:v>
                </c:pt>
                <c:pt idx="341">
                  <c:v>0.2710423491336782</c:v>
                </c:pt>
                <c:pt idx="342">
                  <c:v>0.30857639025930461</c:v>
                </c:pt>
                <c:pt idx="343">
                  <c:v>0.41986028338003711</c:v>
                </c:pt>
                <c:pt idx="344">
                  <c:v>0.46480640959861086</c:v>
                </c:pt>
                <c:pt idx="345">
                  <c:v>0.50114851797766136</c:v>
                </c:pt>
                <c:pt idx="346">
                  <c:v>0.55356987804396751</c:v>
                </c:pt>
                <c:pt idx="347">
                  <c:v>0.56749417847416828</c:v>
                </c:pt>
                <c:pt idx="348">
                  <c:v>0.55110707660733316</c:v>
                </c:pt>
                <c:pt idx="349">
                  <c:v>0.56696530765283981</c:v>
                </c:pt>
                <c:pt idx="350">
                  <c:v>0.55991632789990931</c:v>
                </c:pt>
                <c:pt idx="351">
                  <c:v>0.56908079093815367</c:v>
                </c:pt>
                <c:pt idx="352">
                  <c:v>0.56256857560090001</c:v>
                </c:pt>
                <c:pt idx="353">
                  <c:v>0.56042151793819328</c:v>
                </c:pt>
                <c:pt idx="354">
                  <c:v>0.55701148517977672</c:v>
                </c:pt>
                <c:pt idx="355">
                  <c:v>0.52862611990369812</c:v>
                </c:pt>
                <c:pt idx="356">
                  <c:v>0.52048782413071804</c:v>
                </c:pt>
                <c:pt idx="357">
                  <c:v>0.50316927813079704</c:v>
                </c:pt>
                <c:pt idx="358">
                  <c:v>0.53020483877333557</c:v>
                </c:pt>
                <c:pt idx="359">
                  <c:v>0.5311047085290288</c:v>
                </c:pt>
                <c:pt idx="360">
                  <c:v>0.52853139677152017</c:v>
                </c:pt>
                <c:pt idx="361">
                  <c:v>0.51305205825472644</c:v>
                </c:pt>
                <c:pt idx="362">
                  <c:v>0.51484390417176473</c:v>
                </c:pt>
                <c:pt idx="363">
                  <c:v>0.54588151714883382</c:v>
                </c:pt>
                <c:pt idx="364">
                  <c:v>0.56048466669297881</c:v>
                </c:pt>
                <c:pt idx="365">
                  <c:v>0.53057583770770034</c:v>
                </c:pt>
                <c:pt idx="366">
                  <c:v>0.54167423136125037</c:v>
                </c:pt>
                <c:pt idx="367">
                  <c:v>0.53805107155543297</c:v>
                </c:pt>
                <c:pt idx="368">
                  <c:v>0.52943916012156134</c:v>
                </c:pt>
                <c:pt idx="369">
                  <c:v>0.50507952796305822</c:v>
                </c:pt>
                <c:pt idx="370">
                  <c:v>0.49550459801870783</c:v>
                </c:pt>
                <c:pt idx="371">
                  <c:v>0.47952796305797851</c:v>
                </c:pt>
                <c:pt idx="372">
                  <c:v>0.45415795082290744</c:v>
                </c:pt>
                <c:pt idx="373">
                  <c:v>0.46587204483561595</c:v>
                </c:pt>
                <c:pt idx="374">
                  <c:v>0.44450408493507521</c:v>
                </c:pt>
                <c:pt idx="375">
                  <c:v>0.48271697517464607</c:v>
                </c:pt>
                <c:pt idx="376">
                  <c:v>0.4780360737261713</c:v>
                </c:pt>
                <c:pt idx="377">
                  <c:v>0.46689821210088023</c:v>
                </c:pt>
                <c:pt idx="378">
                  <c:v>0.48285116627856506</c:v>
                </c:pt>
                <c:pt idx="379">
                  <c:v>0.49719382720921979</c:v>
                </c:pt>
                <c:pt idx="380">
                  <c:v>0.51482022338872002</c:v>
                </c:pt>
                <c:pt idx="381">
                  <c:v>0.51995895330938957</c:v>
                </c:pt>
                <c:pt idx="382">
                  <c:v>0.52032205864940617</c:v>
                </c:pt>
                <c:pt idx="383">
                  <c:v>0.53213087579429308</c:v>
                </c:pt>
                <c:pt idx="384">
                  <c:v>0.50878951730670585</c:v>
                </c:pt>
                <c:pt idx="385">
                  <c:v>0.50311402297035968</c:v>
                </c:pt>
                <c:pt idx="386">
                  <c:v>0.46669297864782733</c:v>
                </c:pt>
                <c:pt idx="387">
                  <c:v>0.48643485811264164</c:v>
                </c:pt>
                <c:pt idx="388">
                  <c:v>0.48147768086198051</c:v>
                </c:pt>
                <c:pt idx="389">
                  <c:v>0.49078422859849247</c:v>
                </c:pt>
                <c:pt idx="390">
                  <c:v>0.47273947191853827</c:v>
                </c:pt>
                <c:pt idx="391">
                  <c:v>0.46693768007262126</c:v>
                </c:pt>
                <c:pt idx="392">
                  <c:v>0.43533962189683084</c:v>
                </c:pt>
                <c:pt idx="393">
                  <c:v>0.42726447487863628</c:v>
                </c:pt>
                <c:pt idx="394">
                  <c:v>0.42087855705095323</c:v>
                </c:pt>
                <c:pt idx="395">
                  <c:v>0.3932509768323007</c:v>
                </c:pt>
                <c:pt idx="396">
                  <c:v>0.44084935075186493</c:v>
                </c:pt>
                <c:pt idx="397">
                  <c:v>0.46752969964873525</c:v>
                </c:pt>
                <c:pt idx="398">
                  <c:v>0.45999921064056526</c:v>
                </c:pt>
                <c:pt idx="399">
                  <c:v>0.44365157674547118</c:v>
                </c:pt>
                <c:pt idx="400">
                  <c:v>0.45741011169436008</c:v>
                </c:pt>
                <c:pt idx="401">
                  <c:v>0.47318151320203672</c:v>
                </c:pt>
                <c:pt idx="402">
                  <c:v>0.47211587796503163</c:v>
                </c:pt>
                <c:pt idx="403">
                  <c:v>0.50646090697399071</c:v>
                </c:pt>
                <c:pt idx="404">
                  <c:v>0.5217429056320797</c:v>
                </c:pt>
                <c:pt idx="405">
                  <c:v>0.52842878004499361</c:v>
                </c:pt>
                <c:pt idx="406">
                  <c:v>0.51267316572601329</c:v>
                </c:pt>
                <c:pt idx="407">
                  <c:v>0.53920353633026807</c:v>
                </c:pt>
                <c:pt idx="408">
                  <c:v>0.56035836918340776</c:v>
                </c:pt>
                <c:pt idx="409">
                  <c:v>0.59998421281130376</c:v>
                </c:pt>
                <c:pt idx="410">
                  <c:v>0.60156293168094099</c:v>
                </c:pt>
                <c:pt idx="411">
                  <c:v>0.59264317006749034</c:v>
                </c:pt>
                <c:pt idx="412">
                  <c:v>0.60502032600544675</c:v>
                </c:pt>
                <c:pt idx="413">
                  <c:v>0.61076686269092639</c:v>
                </c:pt>
                <c:pt idx="414">
                  <c:v>0.60316533133362293</c:v>
                </c:pt>
                <c:pt idx="415">
                  <c:v>0.56934127955164393</c:v>
                </c:pt>
                <c:pt idx="416">
                  <c:v>0.53936930181158016</c:v>
                </c:pt>
                <c:pt idx="417">
                  <c:v>0.6026522477009908</c:v>
                </c:pt>
                <c:pt idx="418">
                  <c:v>0.60134980463354015</c:v>
                </c:pt>
                <c:pt idx="419">
                  <c:v>0.62803015353041003</c:v>
                </c:pt>
                <c:pt idx="420">
                  <c:v>0.62806962150215107</c:v>
                </c:pt>
                <c:pt idx="421">
                  <c:v>0.66835063346094681</c:v>
                </c:pt>
                <c:pt idx="422">
                  <c:v>0.67625212140348112</c:v>
                </c:pt>
                <c:pt idx="423">
                  <c:v>0.64938232624225445</c:v>
                </c:pt>
                <c:pt idx="424">
                  <c:v>0.66625883095867722</c:v>
                </c:pt>
                <c:pt idx="425">
                  <c:v>0.64868768993961412</c:v>
                </c:pt>
                <c:pt idx="426">
                  <c:v>0.65159253265974693</c:v>
                </c:pt>
                <c:pt idx="427">
                  <c:v>0.63932588704266524</c:v>
                </c:pt>
                <c:pt idx="428">
                  <c:v>0.61360855665627367</c:v>
                </c:pt>
                <c:pt idx="429">
                  <c:v>0.60707266053597531</c:v>
                </c:pt>
                <c:pt idx="430">
                  <c:v>0.59351146544579092</c:v>
                </c:pt>
                <c:pt idx="431">
                  <c:v>0.61428740577021745</c:v>
                </c:pt>
                <c:pt idx="432">
                  <c:v>0.61146939258791511</c:v>
                </c:pt>
                <c:pt idx="433">
                  <c:v>0.60073410427438145</c:v>
                </c:pt>
                <c:pt idx="434">
                  <c:v>0.57635079133283362</c:v>
                </c:pt>
                <c:pt idx="435">
                  <c:v>0.56007419978687323</c:v>
                </c:pt>
                <c:pt idx="436">
                  <c:v>0.56449461262185752</c:v>
                </c:pt>
                <c:pt idx="437">
                  <c:v>0.54944942179421408</c:v>
                </c:pt>
                <c:pt idx="438">
                  <c:v>0.53588822670402969</c:v>
                </c:pt>
                <c:pt idx="439">
                  <c:v>0.51237320914078244</c:v>
                </c:pt>
                <c:pt idx="440">
                  <c:v>0.50517425109523617</c:v>
                </c:pt>
                <c:pt idx="441">
                  <c:v>0.5352330583731304</c:v>
                </c:pt>
                <c:pt idx="442">
                  <c:v>0.52314007183170852</c:v>
                </c:pt>
                <c:pt idx="443">
                  <c:v>0.53873781426372513</c:v>
                </c:pt>
                <c:pt idx="444">
                  <c:v>0.58836484193077321</c:v>
                </c:pt>
                <c:pt idx="445">
                  <c:v>0.58872794727078981</c:v>
                </c:pt>
                <c:pt idx="446">
                  <c:v>0.59278525476575772</c:v>
                </c:pt>
                <c:pt idx="447">
                  <c:v>0.5718435489600191</c:v>
                </c:pt>
                <c:pt idx="448">
                  <c:v>0.5492441883411614</c:v>
                </c:pt>
                <c:pt idx="449">
                  <c:v>0.55496704424359655</c:v>
                </c:pt>
                <c:pt idx="450">
                  <c:v>0.52568970280617289</c:v>
                </c:pt>
                <c:pt idx="451">
                  <c:v>0.50068279591111842</c:v>
                </c:pt>
                <c:pt idx="452">
                  <c:v>0.47985949402060246</c:v>
                </c:pt>
                <c:pt idx="453">
                  <c:v>0.49136046098590991</c:v>
                </c:pt>
                <c:pt idx="454">
                  <c:v>0.4748391680151558</c:v>
                </c:pt>
                <c:pt idx="455">
                  <c:v>0.47735722461222729</c:v>
                </c:pt>
                <c:pt idx="456">
                  <c:v>0.48197497730591632</c:v>
                </c:pt>
                <c:pt idx="457">
                  <c:v>0.47293681177724278</c:v>
                </c:pt>
                <c:pt idx="458">
                  <c:v>0.48364841930773195</c:v>
                </c:pt>
                <c:pt idx="459">
                  <c:v>0.4854955203852076</c:v>
                </c:pt>
                <c:pt idx="460">
                  <c:v>0.4578837273552514</c:v>
                </c:pt>
                <c:pt idx="461">
                  <c:v>0.50000394679717419</c:v>
                </c:pt>
                <c:pt idx="462">
                  <c:v>0.50807120022102081</c:v>
                </c:pt>
                <c:pt idx="463">
                  <c:v>0.52752891028930038</c:v>
                </c:pt>
                <c:pt idx="464">
                  <c:v>0.52234281880254185</c:v>
                </c:pt>
                <c:pt idx="465">
                  <c:v>0.51325729170777912</c:v>
                </c:pt>
                <c:pt idx="466">
                  <c:v>0.52455302522003411</c:v>
                </c:pt>
                <c:pt idx="467">
                  <c:v>0.5076844140979595</c:v>
                </c:pt>
                <c:pt idx="468">
                  <c:v>0.47634684453565934</c:v>
                </c:pt>
                <c:pt idx="469">
                  <c:v>0.48836089513359915</c:v>
                </c:pt>
                <c:pt idx="470">
                  <c:v>0.50884477246714299</c:v>
                </c:pt>
                <c:pt idx="471">
                  <c:v>0.49577298022654626</c:v>
                </c:pt>
                <c:pt idx="472">
                  <c:v>0.47083711568062525</c:v>
                </c:pt>
                <c:pt idx="473">
                  <c:v>0.46951888542447828</c:v>
                </c:pt>
                <c:pt idx="474">
                  <c:v>0.48775308836878883</c:v>
                </c:pt>
                <c:pt idx="475">
                  <c:v>0.474886529581245</c:v>
                </c:pt>
                <c:pt idx="476">
                  <c:v>0.50195366460117619</c:v>
                </c:pt>
                <c:pt idx="477">
                  <c:v>0.50052492402415449</c:v>
                </c:pt>
                <c:pt idx="478">
                  <c:v>0.50105379484548296</c:v>
                </c:pt>
                <c:pt idx="479">
                  <c:v>0.47617318545999932</c:v>
                </c:pt>
                <c:pt idx="480">
                  <c:v>0.48252752891028949</c:v>
                </c:pt>
                <c:pt idx="481">
                  <c:v>0.47526542210995792</c:v>
                </c:pt>
                <c:pt idx="482">
                  <c:v>0.422607254213206</c:v>
                </c:pt>
                <c:pt idx="483">
                  <c:v>0.39738722027075046</c:v>
                </c:pt>
                <c:pt idx="484">
                  <c:v>0.39544539606109641</c:v>
                </c:pt>
                <c:pt idx="485">
                  <c:v>0.3967004775624583</c:v>
                </c:pt>
                <c:pt idx="486">
                  <c:v>0.39273789319966856</c:v>
                </c:pt>
                <c:pt idx="487">
                  <c:v>0.39362197576666547</c:v>
                </c:pt>
                <c:pt idx="488">
                  <c:v>0.39246161739748198</c:v>
                </c:pt>
                <c:pt idx="489">
                  <c:v>0.3859494020602281</c:v>
                </c:pt>
                <c:pt idx="490">
                  <c:v>0.37322492797095164</c:v>
                </c:pt>
                <c:pt idx="491">
                  <c:v>0.3765402375971898</c:v>
                </c:pt>
                <c:pt idx="492">
                  <c:v>0.37686387496546558</c:v>
                </c:pt>
                <c:pt idx="493">
                  <c:v>0.38746497217508002</c:v>
                </c:pt>
                <c:pt idx="494">
                  <c:v>0.37806370130638989</c:v>
                </c:pt>
                <c:pt idx="495">
                  <c:v>0.36993329912775796</c:v>
                </c:pt>
                <c:pt idx="496">
                  <c:v>0.35211745668390115</c:v>
                </c:pt>
                <c:pt idx="497">
                  <c:v>0.35103603425819951</c:v>
                </c:pt>
                <c:pt idx="498">
                  <c:v>0.33741169041322983</c:v>
                </c:pt>
                <c:pt idx="499">
                  <c:v>0.3592059044085727</c:v>
                </c:pt>
                <c:pt idx="500">
                  <c:v>0.35094131112602134</c:v>
                </c:pt>
                <c:pt idx="501">
                  <c:v>0.33193353593558839</c:v>
                </c:pt>
                <c:pt idx="502">
                  <c:v>0.31485179776611294</c:v>
                </c:pt>
                <c:pt idx="503">
                  <c:v>0.28958440225756821</c:v>
                </c:pt>
                <c:pt idx="504">
                  <c:v>0.26088329320756198</c:v>
                </c:pt>
                <c:pt idx="505">
                  <c:v>0.25453684335162019</c:v>
                </c:pt>
                <c:pt idx="506">
                  <c:v>0.26493270710818173</c:v>
                </c:pt>
                <c:pt idx="507">
                  <c:v>0.27761771322571738</c:v>
                </c:pt>
                <c:pt idx="508">
                  <c:v>0.26336977542724083</c:v>
                </c:pt>
                <c:pt idx="509">
                  <c:v>0.24202549630974479</c:v>
                </c:pt>
                <c:pt idx="510">
                  <c:v>0.26321190354027713</c:v>
                </c:pt>
                <c:pt idx="511">
                  <c:v>0.26374866795595375</c:v>
                </c:pt>
                <c:pt idx="512">
                  <c:v>0.26189367328413016</c:v>
                </c:pt>
                <c:pt idx="513">
                  <c:v>0.23981528989225254</c:v>
                </c:pt>
                <c:pt idx="514">
                  <c:v>0.23781821052216134</c:v>
                </c:pt>
                <c:pt idx="515">
                  <c:v>0.27041875518017133</c:v>
                </c:pt>
                <c:pt idx="516">
                  <c:v>0.27163436870979218</c:v>
                </c:pt>
                <c:pt idx="517">
                  <c:v>0.2861585823104551</c:v>
                </c:pt>
                <c:pt idx="518">
                  <c:v>0.29219718198681788</c:v>
                </c:pt>
                <c:pt idx="519">
                  <c:v>0.30990251410979996</c:v>
                </c:pt>
                <c:pt idx="520">
                  <c:v>0.28540869084737741</c:v>
                </c:pt>
                <c:pt idx="521">
                  <c:v>0.26497217507992277</c:v>
                </c:pt>
                <c:pt idx="522">
                  <c:v>0.26624304376998076</c:v>
                </c:pt>
                <c:pt idx="523">
                  <c:v>0.2632592651063661</c:v>
                </c:pt>
                <c:pt idx="524">
                  <c:v>0.25282393337806397</c:v>
                </c:pt>
                <c:pt idx="525">
                  <c:v>0.24990330346923484</c:v>
                </c:pt>
                <c:pt idx="526">
                  <c:v>0.24969017642183378</c:v>
                </c:pt>
                <c:pt idx="527">
                  <c:v>0.27070292457670608</c:v>
                </c:pt>
                <c:pt idx="528">
                  <c:v>0.27914907052926563</c:v>
                </c:pt>
                <c:pt idx="529">
                  <c:v>0.26985041638710205</c:v>
                </c:pt>
                <c:pt idx="530">
                  <c:v>0.26681138256305004</c:v>
                </c:pt>
                <c:pt idx="531">
                  <c:v>0.22882740655957701</c:v>
                </c:pt>
                <c:pt idx="532">
                  <c:v>0.23976003473181517</c:v>
                </c:pt>
                <c:pt idx="533">
                  <c:v>0.24958755969530722</c:v>
                </c:pt>
                <c:pt idx="534">
                  <c:v>0.24868768993961421</c:v>
                </c:pt>
                <c:pt idx="535">
                  <c:v>0.25266606149110005</c:v>
                </c:pt>
                <c:pt idx="536">
                  <c:v>0.25415795082290726</c:v>
                </c:pt>
                <c:pt idx="537">
                  <c:v>0.24260962229151062</c:v>
                </c:pt>
                <c:pt idx="538">
                  <c:v>0.25373169672810514</c:v>
                </c:pt>
                <c:pt idx="539">
                  <c:v>0.23680783044559339</c:v>
                </c:pt>
                <c:pt idx="540">
                  <c:v>0.25057425898883068</c:v>
                </c:pt>
                <c:pt idx="541">
                  <c:v>0.24588546394600774</c:v>
                </c:pt>
                <c:pt idx="542">
                  <c:v>0.23839444290957879</c:v>
                </c:pt>
                <c:pt idx="543">
                  <c:v>0.2176500769625449</c:v>
                </c:pt>
                <c:pt idx="544">
                  <c:v>0.20922761179303007</c:v>
                </c:pt>
                <c:pt idx="545">
                  <c:v>0.1900856454986779</c:v>
                </c:pt>
                <c:pt idx="546">
                  <c:v>0.18003709989343664</c:v>
                </c:pt>
                <c:pt idx="547">
                  <c:v>0.1711568062517268</c:v>
                </c:pt>
                <c:pt idx="548">
                  <c:v>0.17445632868926864</c:v>
                </c:pt>
                <c:pt idx="549">
                  <c:v>0.17509570983147182</c:v>
                </c:pt>
                <c:pt idx="550">
                  <c:v>0.16598650195366482</c:v>
                </c:pt>
                <c:pt idx="551">
                  <c:v>0.16589177882148642</c:v>
                </c:pt>
                <c:pt idx="552">
                  <c:v>0.16683901014326885</c:v>
                </c:pt>
                <c:pt idx="553">
                  <c:v>0.15807712041678168</c:v>
                </c:pt>
                <c:pt idx="554">
                  <c:v>0.15576429727276331</c:v>
                </c:pt>
                <c:pt idx="555">
                  <c:v>0.15552748944231776</c:v>
                </c:pt>
                <c:pt idx="556">
                  <c:v>0.17180408098827815</c:v>
                </c:pt>
                <c:pt idx="557">
                  <c:v>0.17867940166554863</c:v>
                </c:pt>
                <c:pt idx="558">
                  <c:v>0.18658088960808317</c:v>
                </c:pt>
                <c:pt idx="559">
                  <c:v>0.17384852192445832</c:v>
                </c:pt>
                <c:pt idx="560">
                  <c:v>0.17772427674941804</c:v>
                </c:pt>
                <c:pt idx="561">
                  <c:v>0.15886647985160041</c:v>
                </c:pt>
                <c:pt idx="562">
                  <c:v>0.1473102577258556</c:v>
                </c:pt>
                <c:pt idx="563">
                  <c:v>0.16016102932470311</c:v>
                </c:pt>
                <c:pt idx="564">
                  <c:v>0.15847969372853932</c:v>
                </c:pt>
                <c:pt idx="565">
                  <c:v>0.14902316769941204</c:v>
                </c:pt>
                <c:pt idx="566">
                  <c:v>0.14456328689268672</c:v>
                </c:pt>
                <c:pt idx="567">
                  <c:v>0.12184552235860613</c:v>
                </c:pt>
                <c:pt idx="568">
                  <c:v>0.12650274302403597</c:v>
                </c:pt>
                <c:pt idx="569">
                  <c:v>0.12205075581165903</c:v>
                </c:pt>
                <c:pt idx="570">
                  <c:v>0.11261001697122786</c:v>
                </c:pt>
                <c:pt idx="571">
                  <c:v>9.390219836602598E-2</c:v>
                </c:pt>
                <c:pt idx="572">
                  <c:v>0.10262462012077189</c:v>
                </c:pt>
                <c:pt idx="573">
                  <c:v>0.12555551170225376</c:v>
                </c:pt>
                <c:pt idx="574">
                  <c:v>0.12486087539961321</c:v>
                </c:pt>
                <c:pt idx="575">
                  <c:v>0.14119272210601097</c:v>
                </c:pt>
                <c:pt idx="576">
                  <c:v>0.15117022536211855</c:v>
                </c:pt>
                <c:pt idx="577">
                  <c:v>0.15600899869755702</c:v>
                </c:pt>
                <c:pt idx="578">
                  <c:v>0.14136638118167122</c:v>
                </c:pt>
                <c:pt idx="579">
                  <c:v>0.14091644630382438</c:v>
                </c:pt>
                <c:pt idx="580">
                  <c:v>0.14273986659825555</c:v>
                </c:pt>
                <c:pt idx="581">
                  <c:v>0.15299364565654994</c:v>
                </c:pt>
                <c:pt idx="582">
                  <c:v>0.1784347002407547</c:v>
                </c:pt>
                <c:pt idx="583">
                  <c:v>0.20026838220783838</c:v>
                </c:pt>
                <c:pt idx="584">
                  <c:v>0.19181434266093067</c:v>
                </c:pt>
                <c:pt idx="585">
                  <c:v>0.19814500532817614</c:v>
                </c:pt>
                <c:pt idx="586">
                  <c:v>0.20282590677665069</c:v>
                </c:pt>
                <c:pt idx="587">
                  <c:v>0.19797134625251633</c:v>
                </c:pt>
                <c:pt idx="588">
                  <c:v>0.20232071673836693</c:v>
                </c:pt>
                <c:pt idx="589">
                  <c:v>0.16803883648419315</c:v>
                </c:pt>
                <c:pt idx="590">
                  <c:v>0.18694399494809977</c:v>
                </c:pt>
                <c:pt idx="591">
                  <c:v>0.16427359198010816</c:v>
                </c:pt>
                <c:pt idx="592">
                  <c:v>0.16929391798555482</c:v>
                </c:pt>
                <c:pt idx="593">
                  <c:v>0.15852705529462852</c:v>
                </c:pt>
                <c:pt idx="594">
                  <c:v>0.14393179934483169</c:v>
                </c:pt>
                <c:pt idx="595">
                  <c:v>0.13897462209417077</c:v>
                </c:pt>
                <c:pt idx="596">
                  <c:v>0.11890910526108067</c:v>
                </c:pt>
                <c:pt idx="597">
                  <c:v>9.597032008525086E-2</c:v>
                </c:pt>
                <c:pt idx="598">
                  <c:v>0.10109326281722386</c:v>
                </c:pt>
                <c:pt idx="599">
                  <c:v>9.7146465643130675E-2</c:v>
                </c:pt>
                <c:pt idx="600">
                  <c:v>0.10773177566404857</c:v>
                </c:pt>
                <c:pt idx="601">
                  <c:v>0.11468603228480112</c:v>
                </c:pt>
                <c:pt idx="602">
                  <c:v>0.11268895291470971</c:v>
                </c:pt>
                <c:pt idx="603">
                  <c:v>9.4383707621265467E-2</c:v>
                </c:pt>
                <c:pt idx="604">
                  <c:v>7.3094683664206572E-2</c:v>
                </c:pt>
                <c:pt idx="605">
                  <c:v>7.0442435963215866E-2</c:v>
                </c:pt>
                <c:pt idx="606">
                  <c:v>6.7774401073528834E-2</c:v>
                </c:pt>
                <c:pt idx="607">
                  <c:v>6.8524292536606746E-2</c:v>
                </c:pt>
                <c:pt idx="608">
                  <c:v>4.0375735090973697E-2</c:v>
                </c:pt>
                <c:pt idx="609">
                  <c:v>3.9310099853968605E-2</c:v>
                </c:pt>
                <c:pt idx="610">
                  <c:v>1.7263290839483858E-2</c:v>
                </c:pt>
                <c:pt idx="611">
                  <c:v>5.7228559024351755E-2</c:v>
                </c:pt>
                <c:pt idx="612">
                  <c:v>7.0410861585823215E-2</c:v>
                </c:pt>
                <c:pt idx="613">
                  <c:v>0.10780281801318248</c:v>
                </c:pt>
                <c:pt idx="614">
                  <c:v>9.5362513320440545E-2</c:v>
                </c:pt>
                <c:pt idx="615">
                  <c:v>0.10744760626751404</c:v>
                </c:pt>
                <c:pt idx="616">
                  <c:v>0.11964320953546204</c:v>
                </c:pt>
                <c:pt idx="617">
                  <c:v>0.13267553380431796</c:v>
                </c:pt>
                <c:pt idx="618">
                  <c:v>0.15084658799384321</c:v>
                </c:pt>
                <c:pt idx="619">
                  <c:v>0.11254686821644255</c:v>
                </c:pt>
                <c:pt idx="620">
                  <c:v>0.1056241859730831</c:v>
                </c:pt>
                <c:pt idx="621">
                  <c:v>0.10638986462485711</c:v>
                </c:pt>
                <c:pt idx="622">
                  <c:v>0.10239570588467473</c:v>
                </c:pt>
                <c:pt idx="623">
                  <c:v>7.0994987567589041E-2</c:v>
                </c:pt>
                <c:pt idx="624">
                  <c:v>7.2692110352449157E-2</c:v>
                </c:pt>
                <c:pt idx="625">
                  <c:v>5.343963373722227E-2</c:v>
                </c:pt>
                <c:pt idx="626">
                  <c:v>3.8489166041757006E-2</c:v>
                </c:pt>
                <c:pt idx="627">
                  <c:v>5.8388917393535245E-2</c:v>
                </c:pt>
                <c:pt idx="628">
                  <c:v>7.4112957335122687E-2</c:v>
                </c:pt>
                <c:pt idx="629">
                  <c:v>9.9672415834550332E-2</c:v>
                </c:pt>
                <c:pt idx="630">
                  <c:v>9.2370841062477727E-2</c:v>
                </c:pt>
                <c:pt idx="631">
                  <c:v>8.4477246714291354E-2</c:v>
                </c:pt>
                <c:pt idx="632">
                  <c:v>9.2939179855547227E-2</c:v>
                </c:pt>
                <c:pt idx="633">
                  <c:v>7.8975411453605648E-2</c:v>
                </c:pt>
                <c:pt idx="634">
                  <c:v>7.2423728144610733E-2</c:v>
                </c:pt>
                <c:pt idx="635">
                  <c:v>3.0311402297036105E-2</c:v>
                </c:pt>
                <c:pt idx="636">
                  <c:v>-3.1795398034494937E-2</c:v>
                </c:pt>
                <c:pt idx="637">
                  <c:v>3.5402770651616233E-2</c:v>
                </c:pt>
                <c:pt idx="638">
                  <c:v>2.4517504045467264E-2</c:v>
                </c:pt>
                <c:pt idx="639">
                  <c:v>2.872478983305049E-2</c:v>
                </c:pt>
                <c:pt idx="640">
                  <c:v>8.9221296917551651E-2</c:v>
                </c:pt>
                <c:pt idx="641">
                  <c:v>0.13584086513794058</c:v>
                </c:pt>
                <c:pt idx="642">
                  <c:v>0.12303745510518227</c:v>
                </c:pt>
                <c:pt idx="643">
                  <c:v>0.13800370998934386</c:v>
                </c:pt>
                <c:pt idx="644">
                  <c:v>0.16511820657536425</c:v>
                </c:pt>
                <c:pt idx="645">
                  <c:v>0.17248293010222215</c:v>
                </c:pt>
                <c:pt idx="646">
                  <c:v>0.12131665153727744</c:v>
                </c:pt>
                <c:pt idx="647">
                  <c:v>8.1351383352409767E-2</c:v>
                </c:pt>
                <c:pt idx="648">
                  <c:v>0.14494217942139964</c:v>
                </c:pt>
                <c:pt idx="649">
                  <c:v>0.17035955322256013</c:v>
                </c:pt>
                <c:pt idx="650">
                  <c:v>0.19811343095078349</c:v>
                </c:pt>
                <c:pt idx="651">
                  <c:v>0.24153609346015714</c:v>
                </c:pt>
                <c:pt idx="652">
                  <c:v>0.25409480206812174</c:v>
                </c:pt>
                <c:pt idx="653">
                  <c:v>0.23384773256502345</c:v>
                </c:pt>
                <c:pt idx="654">
                  <c:v>0.26580889608083047</c:v>
                </c:pt>
                <c:pt idx="655">
                  <c:v>0.28357737695859808</c:v>
                </c:pt>
                <c:pt idx="656">
                  <c:v>0.26533528041993937</c:v>
                </c:pt>
                <c:pt idx="657">
                  <c:v>0.24998223941271669</c:v>
                </c:pt>
                <c:pt idx="658">
                  <c:v>0.27105024272802636</c:v>
                </c:pt>
                <c:pt idx="659">
                  <c:v>0.27831234952835793</c:v>
                </c:pt>
                <c:pt idx="660">
                  <c:v>0.26429332596597876</c:v>
                </c:pt>
                <c:pt idx="661">
                  <c:v>0.29657812685006113</c:v>
                </c:pt>
                <c:pt idx="662">
                  <c:v>0.3231795398034496</c:v>
                </c:pt>
                <c:pt idx="663">
                  <c:v>0.32092197181986837</c:v>
                </c:pt>
                <c:pt idx="664">
                  <c:v>0.29769112365315564</c:v>
                </c:pt>
                <c:pt idx="665">
                  <c:v>0.30120377313809854</c:v>
                </c:pt>
                <c:pt idx="666">
                  <c:v>0.28808461933141261</c:v>
                </c:pt>
                <c:pt idx="667">
                  <c:v>0.26363815763507925</c:v>
                </c:pt>
                <c:pt idx="668">
                  <c:v>0.27393140466511445</c:v>
                </c:pt>
                <c:pt idx="669">
                  <c:v>0.28927655207798875</c:v>
                </c:pt>
                <c:pt idx="670">
                  <c:v>0.26959782136796018</c:v>
                </c:pt>
                <c:pt idx="671">
                  <c:v>0.24125192406362239</c:v>
                </c:pt>
                <c:pt idx="672">
                  <c:v>0.23320835142282048</c:v>
                </c:pt>
                <c:pt idx="673">
                  <c:v>0.22474641828156461</c:v>
                </c:pt>
                <c:pt idx="674">
                  <c:v>0.19972372419781337</c:v>
                </c:pt>
                <c:pt idx="675">
                  <c:v>0.19591111812763939</c:v>
                </c:pt>
                <c:pt idx="676">
                  <c:v>0.19554801278762279</c:v>
                </c:pt>
                <c:pt idx="677">
                  <c:v>0.20374156372104046</c:v>
                </c:pt>
                <c:pt idx="678">
                  <c:v>0.20423886016497605</c:v>
                </c:pt>
                <c:pt idx="679">
                  <c:v>0.21933141255870869</c:v>
                </c:pt>
                <c:pt idx="680">
                  <c:v>0.23045348699530344</c:v>
                </c:pt>
                <c:pt idx="681">
                  <c:v>0.23413190196155842</c:v>
                </c:pt>
                <c:pt idx="682">
                  <c:v>0.21307968583494508</c:v>
                </c:pt>
                <c:pt idx="683">
                  <c:v>0.19540592808935564</c:v>
                </c:pt>
                <c:pt idx="684">
                  <c:v>0.21141413742747783</c:v>
                </c:pt>
                <c:pt idx="685">
                  <c:v>0.1872281643446343</c:v>
                </c:pt>
                <c:pt idx="686">
                  <c:v>0.18514425543671331</c:v>
                </c:pt>
                <c:pt idx="687">
                  <c:v>0.18617042270197737</c:v>
                </c:pt>
                <c:pt idx="688">
                  <c:v>0.19051979318782819</c:v>
                </c:pt>
                <c:pt idx="689">
                  <c:v>0.16068200655168341</c:v>
                </c:pt>
                <c:pt idx="690">
                  <c:v>0.15262264672218517</c:v>
                </c:pt>
                <c:pt idx="691">
                  <c:v>0.14111378616252912</c:v>
                </c:pt>
                <c:pt idx="692">
                  <c:v>0.12860243912065372</c:v>
                </c:pt>
                <c:pt idx="693">
                  <c:v>9.7406954256620937E-2</c:v>
                </c:pt>
                <c:pt idx="694">
                  <c:v>8.3877333543829202E-2</c:v>
                </c:pt>
                <c:pt idx="695">
                  <c:v>0.10627146070963422</c:v>
                </c:pt>
                <c:pt idx="696">
                  <c:v>0.12336109247345806</c:v>
                </c:pt>
                <c:pt idx="697">
                  <c:v>0.11366775861388478</c:v>
                </c:pt>
                <c:pt idx="698">
                  <c:v>0.12244543552906828</c:v>
                </c:pt>
                <c:pt idx="699">
                  <c:v>0.11943797608240936</c:v>
                </c:pt>
                <c:pt idx="700">
                  <c:v>8.6150688716106982E-2</c:v>
                </c:pt>
                <c:pt idx="701">
                  <c:v>7.6552077988712108E-2</c:v>
                </c:pt>
                <c:pt idx="702">
                  <c:v>9.8740971701464453E-2</c:v>
                </c:pt>
                <c:pt idx="703">
                  <c:v>9.4928365631290257E-2</c:v>
                </c:pt>
                <c:pt idx="704">
                  <c:v>9.7462209417058077E-2</c:v>
                </c:pt>
                <c:pt idx="705">
                  <c:v>8.5637605083474844E-2</c:v>
                </c:pt>
                <c:pt idx="706">
                  <c:v>0.11389667284998239</c:v>
                </c:pt>
                <c:pt idx="707">
                  <c:v>0.15484074673402537</c:v>
                </c:pt>
                <c:pt idx="708">
                  <c:v>0.18968307218692049</c:v>
                </c:pt>
                <c:pt idx="709">
                  <c:v>0.18305245293444372</c:v>
                </c:pt>
                <c:pt idx="710">
                  <c:v>0.16098196313691449</c:v>
                </c:pt>
                <c:pt idx="711">
                  <c:v>0.16336582863006677</c:v>
                </c:pt>
                <c:pt idx="712">
                  <c:v>0.15323834708134365</c:v>
                </c:pt>
                <c:pt idx="713">
                  <c:v>0.14169791214429495</c:v>
                </c:pt>
                <c:pt idx="714">
                  <c:v>0.14009551249161301</c:v>
                </c:pt>
                <c:pt idx="715">
                  <c:v>0.1729249713857206</c:v>
                </c:pt>
                <c:pt idx="716">
                  <c:v>0.17571930378497869</c:v>
                </c:pt>
                <c:pt idx="717">
                  <c:v>0.20794884950862391</c:v>
                </c:pt>
                <c:pt idx="718">
                  <c:v>0.2290089592295852</c:v>
                </c:pt>
                <c:pt idx="719">
                  <c:v>0.24771677783478729</c:v>
                </c:pt>
                <c:pt idx="720">
                  <c:v>0.24804830879741102</c:v>
                </c:pt>
                <c:pt idx="721">
                  <c:v>0.23080869874097187</c:v>
                </c:pt>
                <c:pt idx="722">
                  <c:v>0.23290839483758941</c:v>
                </c:pt>
                <c:pt idx="723">
                  <c:v>0.21437423530804756</c:v>
                </c:pt>
                <c:pt idx="724">
                  <c:v>0.21228243280577819</c:v>
                </c:pt>
                <c:pt idx="725">
                  <c:v>0.22592256383944442</c:v>
                </c:pt>
                <c:pt idx="726">
                  <c:v>0.12636065832576882</c:v>
                </c:pt>
                <c:pt idx="727">
                  <c:v>0.1407585744168609</c:v>
                </c:pt>
                <c:pt idx="728">
                  <c:v>0.14583415558274471</c:v>
                </c:pt>
                <c:pt idx="729">
                  <c:v>0.1324150451908277</c:v>
                </c:pt>
                <c:pt idx="730">
                  <c:v>0.11869597821367961</c:v>
                </c:pt>
                <c:pt idx="731">
                  <c:v>0.12519240636223716</c:v>
                </c:pt>
                <c:pt idx="732">
                  <c:v>0.11317046216994919</c:v>
                </c:pt>
                <c:pt idx="733">
                  <c:v>0.10582152583178761</c:v>
                </c:pt>
                <c:pt idx="734">
                  <c:v>0.14379760824091248</c:v>
                </c:pt>
                <c:pt idx="735">
                  <c:v>9.082369657023337E-2</c:v>
                </c:pt>
                <c:pt idx="736">
                  <c:v>7.8549157358803301E-2</c:v>
                </c:pt>
                <c:pt idx="737">
                  <c:v>6.7198168686111392E-2</c:v>
                </c:pt>
                <c:pt idx="738">
                  <c:v>6.4782728815566237E-2</c:v>
                </c:pt>
                <c:pt idx="739">
                  <c:v>6.8184867979634634E-2</c:v>
                </c:pt>
                <c:pt idx="740">
                  <c:v>9.6925445001381449E-2</c:v>
                </c:pt>
                <c:pt idx="741">
                  <c:v>0.12651853021273252</c:v>
                </c:pt>
                <c:pt idx="742">
                  <c:v>0.11246003867861232</c:v>
                </c:pt>
                <c:pt idx="743">
                  <c:v>0.11771717251450453</c:v>
                </c:pt>
                <c:pt idx="744">
                  <c:v>0.11796976753364641</c:v>
                </c:pt>
                <c:pt idx="745">
                  <c:v>8.5313967715199279E-2</c:v>
                </c:pt>
                <c:pt idx="746">
                  <c:v>8.1106681927615831E-2</c:v>
                </c:pt>
                <c:pt idx="747">
                  <c:v>7.893594348186439E-2</c:v>
                </c:pt>
                <c:pt idx="748">
                  <c:v>0.12685006117535624</c:v>
                </c:pt>
                <c:pt idx="749">
                  <c:v>0.14238465485258711</c:v>
                </c:pt>
                <c:pt idx="750">
                  <c:v>0.15780873820894348</c:v>
                </c:pt>
                <c:pt idx="751">
                  <c:v>0.1338674665508941</c:v>
                </c:pt>
                <c:pt idx="752">
                  <c:v>0.14551841180881731</c:v>
                </c:pt>
                <c:pt idx="753">
                  <c:v>0.17347752299009356</c:v>
                </c:pt>
                <c:pt idx="754">
                  <c:v>0.16253700122350723</c:v>
                </c:pt>
                <c:pt idx="755">
                  <c:v>0.16968859770296407</c:v>
                </c:pt>
                <c:pt idx="756">
                  <c:v>0.1204878241307179</c:v>
                </c:pt>
                <c:pt idx="757">
                  <c:v>0.12510557682440693</c:v>
                </c:pt>
                <c:pt idx="758">
                  <c:v>0.13229664127560503</c:v>
                </c:pt>
                <c:pt idx="759">
                  <c:v>0.13428582705134784</c:v>
                </c:pt>
                <c:pt idx="760">
                  <c:v>0.11118916998855433</c:v>
                </c:pt>
                <c:pt idx="761">
                  <c:v>5.5799818447330063E-2</c:v>
                </c:pt>
                <c:pt idx="762">
                  <c:v>6.4703792872084387E-2</c:v>
                </c:pt>
                <c:pt idx="763">
                  <c:v>3.0200891976161381E-2</c:v>
                </c:pt>
                <c:pt idx="764">
                  <c:v>7.1208114614989881E-2</c:v>
                </c:pt>
                <c:pt idx="765">
                  <c:v>6.4482772230335161E-2</c:v>
                </c:pt>
                <c:pt idx="766">
                  <c:v>8.7074239254844921E-2</c:v>
                </c:pt>
                <c:pt idx="767">
                  <c:v>8.0451513596716318E-2</c:v>
                </c:pt>
                <c:pt idx="768">
                  <c:v>0.12190867111339143</c:v>
                </c:pt>
                <c:pt idx="769">
                  <c:v>0.16514188735840873</c:v>
                </c:pt>
                <c:pt idx="770">
                  <c:v>0.15349094210048553</c:v>
                </c:pt>
                <c:pt idx="771">
                  <c:v>0.14326084382523585</c:v>
                </c:pt>
                <c:pt idx="772">
                  <c:v>0.14191893278604439</c:v>
                </c:pt>
                <c:pt idx="773">
                  <c:v>0.14152425306863492</c:v>
                </c:pt>
                <c:pt idx="774">
                  <c:v>0.13144413308600078</c:v>
                </c:pt>
                <c:pt idx="775">
                  <c:v>0.11195484864032856</c:v>
                </c:pt>
                <c:pt idx="776">
                  <c:v>0.13221770533212296</c:v>
                </c:pt>
                <c:pt idx="777">
                  <c:v>0.13765639183802358</c:v>
                </c:pt>
                <c:pt idx="778">
                  <c:v>0.1051189959347989</c:v>
                </c:pt>
                <c:pt idx="779">
                  <c:v>0.12725263448711366</c:v>
                </c:pt>
                <c:pt idx="780">
                  <c:v>8.3087974109010476E-2</c:v>
                </c:pt>
                <c:pt idx="781">
                  <c:v>5.374748391680173E-2</c:v>
                </c:pt>
                <c:pt idx="782">
                  <c:v>1.6197655602478545E-2</c:v>
                </c:pt>
                <c:pt idx="783">
                  <c:v>2.9837786636146557E-3</c:v>
                </c:pt>
                <c:pt idx="784">
                  <c:v>-3.1305995184907287E-2</c:v>
                </c:pt>
                <c:pt idx="785">
                  <c:v>-3.3192564234123978E-2</c:v>
                </c:pt>
                <c:pt idx="7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6594688"/>
        <c:axId val="549958720"/>
      </c:lineChart>
      <c:dateAx>
        <c:axId val="716594688"/>
        <c:scaling>
          <c:orientation val="minMax"/>
          <c:max val="41361"/>
          <c:min val="40087"/>
        </c:scaling>
        <c:delete val="0"/>
        <c:axPos val="b"/>
        <c:majorGridlines>
          <c:spPr>
            <a:ln>
              <a:noFill/>
            </a:ln>
          </c:spPr>
        </c:majorGridlines>
        <c:numFmt formatCode="m/d/yyyy" sourceLinked="1"/>
        <c:majorTickMark val="out"/>
        <c:minorTickMark val="none"/>
        <c:tickLblPos val="none"/>
        <c:spPr>
          <a:ln>
            <a:solidFill>
              <a:srgbClr val="003864"/>
            </a:solidFill>
          </a:ln>
        </c:spPr>
        <c:crossAx val="549958720"/>
        <c:crosses val="autoZero"/>
        <c:auto val="1"/>
        <c:lblOffset val="100"/>
        <c:baseTimeUnit val="days"/>
        <c:majorUnit val="3"/>
        <c:majorTimeUnit val="months"/>
      </c:dateAx>
      <c:valAx>
        <c:axId val="549958720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rgbClr val="003864"/>
              </a:solidFill>
            </a:ln>
          </c:spPr>
        </c:majorGridlines>
        <c:numFmt formatCode="0%" sourceLinked="1"/>
        <c:majorTickMark val="out"/>
        <c:minorTickMark val="none"/>
        <c:tickLblPos val="nextTo"/>
        <c:spPr>
          <a:ln>
            <a:solidFill>
              <a:srgbClr val="003864"/>
            </a:solidFill>
          </a:ln>
        </c:spPr>
        <c:txPr>
          <a:bodyPr/>
          <a:lstStyle/>
          <a:p>
            <a:pPr>
              <a:defRPr baseline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defRPr>
            </a:pPr>
            <a:endParaRPr lang="ru-UA"/>
          </a:p>
        </c:txPr>
        <c:crossAx val="716594688"/>
        <c:crosses val="autoZero"/>
        <c:crossBetween val="between"/>
      </c:valAx>
      <c:spPr>
        <a:ln>
          <a:solidFill>
            <a:srgbClr val="003864"/>
          </a:solidFill>
        </a:ln>
      </c:spPr>
    </c:plotArea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12663631436978E-2"/>
          <c:y val="3.2604664590890814E-2"/>
          <c:w val="0.93087106842597955"/>
          <c:h val="0.80800310316120549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ubble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</c:f>
              <c:numCache>
                <c:formatCode>General</c:formatCode>
                <c:ptCount val="1"/>
                <c:pt idx="0">
                  <c:v>50</c:v>
                </c:pt>
              </c:numCache>
            </c:numRef>
          </c:xVal>
          <c:yVal>
            <c:numRef>
              <c:f>Sheet1!$B$2</c:f>
              <c:numCache>
                <c:formatCode>#,##0.0</c:formatCode>
                <c:ptCount val="1"/>
                <c:pt idx="0">
                  <c:v>20.399999999999999</c:v>
                </c:pt>
              </c:numCache>
            </c:numRef>
          </c:yVal>
          <c:bubbleSize>
            <c:numRef>
              <c:f>Sheet1!$C$2</c:f>
              <c:numCache>
                <c:formatCode>#,##0.0</c:formatCode>
                <c:ptCount val="1"/>
                <c:pt idx="0">
                  <c:v>6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7706-47D5-84A3-000D9F39FC53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Bubble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3</c:f>
              <c:numCache>
                <c:formatCode>General</c:formatCode>
                <c:ptCount val="1"/>
                <c:pt idx="0">
                  <c:v>75</c:v>
                </c:pt>
              </c:numCache>
            </c:numRef>
          </c:xVal>
          <c:yVal>
            <c:numRef>
              <c:f>Sheet1!$D$3</c:f>
              <c:numCache>
                <c:formatCode>#,##0.0</c:formatCode>
                <c:ptCount val="1"/>
                <c:pt idx="0">
                  <c:v>70</c:v>
                </c:pt>
              </c:numCache>
            </c:numRef>
          </c:yVal>
          <c:bubbleSize>
            <c:numRef>
              <c:f>Sheet1!$E$3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7706-47D5-84A3-000D9F39FC53}"/>
            </c:ext>
          </c:extLst>
        </c:ser>
        <c:ser>
          <c:idx val="2"/>
          <c:order val="2"/>
          <c:tx>
            <c:strRef>
              <c:f>Sheet1!$F$1</c:f>
              <c:strCache>
                <c:ptCount val="1"/>
                <c:pt idx="0">
                  <c:v>Bubble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4</c:f>
              <c:numCache>
                <c:formatCode>General</c:formatCode>
                <c:ptCount val="1"/>
                <c:pt idx="0">
                  <c:v>225</c:v>
                </c:pt>
              </c:numCache>
            </c:numRef>
          </c:xVal>
          <c:yVal>
            <c:numRef>
              <c:f>Sheet1!$F$4</c:f>
              <c:numCache>
                <c:formatCode>#,##0.0</c:formatCode>
                <c:ptCount val="1"/>
                <c:pt idx="0">
                  <c:v>40</c:v>
                </c:pt>
              </c:numCache>
            </c:numRef>
          </c:yVal>
          <c:bubbleSize>
            <c:numRef>
              <c:f>Sheet1!$G$4</c:f>
              <c:numCache>
                <c:formatCode>#,##0.0</c:formatCode>
                <c:ptCount val="1"/>
                <c:pt idx="0">
                  <c:v>7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7706-47D5-84A3-000D9F39FC53}"/>
            </c:ext>
          </c:extLst>
        </c:ser>
        <c:ser>
          <c:idx val="3"/>
          <c:order val="3"/>
          <c:tx>
            <c:strRef>
              <c:f>Sheet1!$H$1</c:f>
              <c:strCache>
                <c:ptCount val="1"/>
                <c:pt idx="0">
                  <c:v>Bubble4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5</c:f>
              <c:numCache>
                <c:formatCode>General</c:formatCode>
                <c:ptCount val="1"/>
                <c:pt idx="0">
                  <c:v>300</c:v>
                </c:pt>
              </c:numCache>
            </c:numRef>
          </c:xVal>
          <c:yVal>
            <c:numRef>
              <c:f>Sheet1!$H$5</c:f>
              <c:numCache>
                <c:formatCode>#,##0.0</c:formatCode>
                <c:ptCount val="1"/>
                <c:pt idx="0">
                  <c:v>27.4</c:v>
                </c:pt>
              </c:numCache>
            </c:numRef>
          </c:yVal>
          <c:bubbleSize>
            <c:numRef>
              <c:f>Sheet1!$I$5</c:f>
              <c:numCache>
                <c:formatCode>#,##0.0</c:formatCode>
                <c:ptCount val="1"/>
                <c:pt idx="0">
                  <c:v>12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3-7706-47D5-84A3-000D9F39FC53}"/>
            </c:ext>
          </c:extLst>
        </c:ser>
        <c:ser>
          <c:idx val="4"/>
          <c:order val="4"/>
          <c:tx>
            <c:strRef>
              <c:f>Sheet1!$J$1</c:f>
              <c:strCache>
                <c:ptCount val="1"/>
                <c:pt idx="0">
                  <c:v>Bubble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6</c:f>
              <c:numCache>
                <c:formatCode>General</c:formatCode>
                <c:ptCount val="1"/>
                <c:pt idx="0">
                  <c:v>112</c:v>
                </c:pt>
              </c:numCache>
            </c:numRef>
          </c:xVal>
          <c:yVal>
            <c:numRef>
              <c:f>Sheet1!$J$6</c:f>
              <c:numCache>
                <c:formatCode>#,##0.0</c:formatCode>
                <c:ptCount val="1"/>
                <c:pt idx="0">
                  <c:v>60</c:v>
                </c:pt>
              </c:numCache>
            </c:numRef>
          </c:yVal>
          <c:bubbleSize>
            <c:numRef>
              <c:f>Sheet1!$K$6</c:f>
              <c:numCache>
                <c:formatCode>#,##0.0</c:formatCode>
                <c:ptCount val="1"/>
                <c:pt idx="0">
                  <c:v>7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7706-47D5-84A3-000D9F39FC53}"/>
            </c:ext>
          </c:extLst>
        </c:ser>
        <c:ser>
          <c:idx val="5"/>
          <c:order val="5"/>
          <c:tx>
            <c:strRef>
              <c:f>Sheet1!$L$1</c:f>
              <c:strCache>
                <c:ptCount val="1"/>
                <c:pt idx="0">
                  <c:v>Bubble6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7</c:f>
              <c:numCache>
                <c:formatCode>General</c:formatCode>
                <c:ptCount val="1"/>
                <c:pt idx="0">
                  <c:v>120</c:v>
                </c:pt>
              </c:numCache>
            </c:numRef>
          </c:xVal>
          <c:yVal>
            <c:numRef>
              <c:f>Sheet1!$L$7</c:f>
              <c:numCache>
                <c:formatCode>#,##0.0</c:formatCode>
                <c:ptCount val="1"/>
                <c:pt idx="0">
                  <c:v>30</c:v>
                </c:pt>
              </c:numCache>
            </c:numRef>
          </c:yVal>
          <c:bubbleSize>
            <c:numRef>
              <c:f>Sheet1!$M$7</c:f>
              <c:numCache>
                <c:formatCode>#,##0.0</c:formatCode>
                <c:ptCount val="1"/>
                <c:pt idx="0">
                  <c:v>9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5-7706-47D5-84A3-000D9F39FC53}"/>
            </c:ext>
          </c:extLst>
        </c:ser>
        <c:ser>
          <c:idx val="6"/>
          <c:order val="6"/>
          <c:tx>
            <c:strRef>
              <c:f>Sheet1!$N$1</c:f>
              <c:strCache>
                <c:ptCount val="1"/>
                <c:pt idx="0">
                  <c:v>Bubble7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shade val="51000"/>
                    <a:satMod val="130000"/>
                  </a:schemeClr>
                </a:gs>
                <a:gs pos="80000">
                  <a:schemeClr val="accent1">
                    <a:lumMod val="60000"/>
                    <a:shade val="93000"/>
                    <a:satMod val="130000"/>
                  </a:schemeClr>
                </a:gs>
                <a:gs pos="100000">
                  <a:schemeClr val="accent1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8</c:f>
              <c:numCache>
                <c:formatCode>General</c:formatCode>
                <c:ptCount val="1"/>
                <c:pt idx="0">
                  <c:v>70</c:v>
                </c:pt>
              </c:numCache>
            </c:numRef>
          </c:xVal>
          <c:yVal>
            <c:numRef>
              <c:f>Sheet1!$N$8</c:f>
              <c:numCache>
                <c:formatCode>#,##0.0</c:formatCode>
                <c:ptCount val="1"/>
                <c:pt idx="0">
                  <c:v>55</c:v>
                </c:pt>
              </c:numCache>
            </c:numRef>
          </c:yVal>
          <c:bubbleSize>
            <c:numRef>
              <c:f>Sheet1!$O$8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6-7706-47D5-84A3-000D9F39FC53}"/>
            </c:ext>
          </c:extLst>
        </c:ser>
        <c:ser>
          <c:idx val="7"/>
          <c:order val="7"/>
          <c:tx>
            <c:strRef>
              <c:f>Sheet1!$P$1</c:f>
              <c:strCache>
                <c:ptCount val="1"/>
                <c:pt idx="0">
                  <c:v>Bubble8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hade val="51000"/>
                    <a:satMod val="130000"/>
                  </a:schemeClr>
                </a:gs>
                <a:gs pos="80000">
                  <a:schemeClr val="accent2">
                    <a:lumMod val="60000"/>
                    <a:shade val="93000"/>
                    <a:satMod val="130000"/>
                  </a:schemeClr>
                </a:gs>
                <a:gs pos="100000">
                  <a:schemeClr val="accent2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9</c:f>
              <c:numCache>
                <c:formatCode>General</c:formatCode>
                <c:ptCount val="1"/>
                <c:pt idx="0">
                  <c:v>200</c:v>
                </c:pt>
              </c:numCache>
            </c:numRef>
          </c:xVal>
          <c:yVal>
            <c:numRef>
              <c:f>Sheet1!$P$9</c:f>
              <c:numCache>
                <c:formatCode>#,##0.0</c:formatCode>
                <c:ptCount val="1"/>
                <c:pt idx="0">
                  <c:v>90</c:v>
                </c:pt>
              </c:numCache>
            </c:numRef>
          </c:yVal>
          <c:bubbleSize>
            <c:numRef>
              <c:f>Sheet1!$Q$9</c:f>
              <c:numCache>
                <c:formatCode>#,##0.0</c:formatCode>
                <c:ptCount val="1"/>
                <c:pt idx="0">
                  <c:v>43.9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7-7706-47D5-84A3-000D9F39FC5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774501768"/>
        <c:axId val="774502160"/>
      </c:bubbleChart>
      <c:valAx>
        <c:axId val="7745017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774502160"/>
        <c:crosses val="autoZero"/>
        <c:crossBetween val="midCat"/>
      </c:valAx>
      <c:valAx>
        <c:axId val="774502160"/>
        <c:scaling>
          <c:orientation val="minMax"/>
          <c:max val="1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7745017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04338384116239E-2"/>
          <c:y val="9.0773100232568404E-2"/>
          <c:w val="0.81578635564731172"/>
          <c:h val="0.7392644807187447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t A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5017590391447772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B$2:$B$9</c:f>
              <c:numCache>
                <c:formatCode>#,##0.0</c:formatCode>
                <c:ptCount val="8"/>
                <c:pt idx="0">
                  <c:v>2.4</c:v>
                </c:pt>
                <c:pt idx="1">
                  <c:v>3.3</c:v>
                </c:pt>
                <c:pt idx="2">
                  <c:v>4.2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D56D-491D-95D5-09D8E74580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t B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C$2:$C$9</c:f>
              <c:numCache>
                <c:formatCode>#,##0.0</c:formatCode>
                <c:ptCount val="8"/>
                <c:pt idx="0">
                  <c:v>3.3</c:v>
                </c:pt>
                <c:pt idx="1">
                  <c:v>3.7</c:v>
                </c:pt>
                <c:pt idx="2">
                  <c:v>3.8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D56D-491D-95D5-09D8E74580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t C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3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2075724101587038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D$2:$D$9</c:f>
              <c:numCache>
                <c:formatCode>#,##0.0</c:formatCode>
                <c:ptCount val="8"/>
                <c:pt idx="0">
                  <c:v>1.2</c:v>
                </c:pt>
                <c:pt idx="1">
                  <c:v>2.4</c:v>
                </c:pt>
                <c:pt idx="2">
                  <c:v>6.1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D56D-491D-95D5-09D8E74580D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t D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4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4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E$2:$E$9</c:f>
              <c:numCache>
                <c:formatCode>General</c:formatCode>
                <c:ptCount val="8"/>
                <c:pt idx="3" formatCode="#,##0.0">
                  <c:v>7.1</c:v>
                </c:pt>
                <c:pt idx="4" formatCode="#,##0.0">
                  <c:v>4.5</c:v>
                </c:pt>
                <c:pt idx="5" formatCode="#,##0.0">
                  <c:v>4.4000000000000004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5-D56D-491D-95D5-09D8E74580D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t E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5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5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F$2:$F$9</c:f>
              <c:numCache>
                <c:formatCode>General</c:formatCode>
                <c:ptCount val="8"/>
                <c:pt idx="3" formatCode="#,##0.0">
                  <c:v>4.2</c:v>
                </c:pt>
                <c:pt idx="4" formatCode="#,##0.0">
                  <c:v>2.2000000000000002</c:v>
                </c:pt>
                <c:pt idx="5" formatCode="#,##0.0">
                  <c:v>3.5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6-D56D-491D-95D5-09D8E74580D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t F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6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6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G$2:$G$9</c:f>
              <c:numCache>
                <c:formatCode>General</c:formatCode>
                <c:ptCount val="8"/>
                <c:pt idx="3" formatCode="#,##0.0">
                  <c:v>8.5</c:v>
                </c:pt>
                <c:pt idx="4" formatCode="#,##0.0">
                  <c:v>7.7</c:v>
                </c:pt>
                <c:pt idx="5" formatCode="#,##0.0">
                  <c:v>7.5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7-D56D-491D-95D5-09D8E74580D3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t G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6"/>
              <c:layout>
                <c:manualLayout>
                  <c:x val="-7.6488523536378084E-2"/>
                  <c:y val="5.7740511306740346E-17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H$2:$H$9</c:f>
              <c:numCache>
                <c:formatCode>General</c:formatCode>
                <c:ptCount val="8"/>
                <c:pt idx="6" formatCode="#,##0.0">
                  <c:v>4</c:v>
                </c:pt>
                <c:pt idx="7" formatCode="#,##0.0">
                  <c:v>3.8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9-D56D-491D-95D5-09D8E74580D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Set H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I$2:$I$9</c:f>
              <c:numCache>
                <c:formatCode>General</c:formatCode>
                <c:ptCount val="8"/>
                <c:pt idx="6" formatCode="#,##0.0">
                  <c:v>6.7</c:v>
                </c:pt>
                <c:pt idx="7" formatCode="#,##0.0">
                  <c:v>7.2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A-D56D-491D-95D5-09D8E74580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164081872"/>
        <c:axId val="1164082264"/>
      </c:scatterChart>
      <c:valAx>
        <c:axId val="11640818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164082264"/>
        <c:crosses val="autoZero"/>
        <c:crossBetween val="midCat"/>
      </c:valAx>
      <c:valAx>
        <c:axId val="1164082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16408187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5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3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7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2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  <a:round/>
      </a:ln>
    </cs:spPr>
    <cs:defRPr sz="1197" kern="1200"/>
    <cs:bodyPr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348</cdr:x>
      <cdr:y>0.873</cdr:y>
    </cdr:from>
    <cdr:to>
      <cdr:x>0.6721</cdr:x>
      <cdr:y>0.95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84784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2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34493</cdr:x>
      <cdr:y>0.873</cdr:y>
    </cdr:from>
    <cdr:to>
      <cdr:x>0.47355</cdr:x>
      <cdr:y>0.954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577011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1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13732</cdr:x>
      <cdr:y>0.873</cdr:y>
    </cdr:from>
    <cdr:to>
      <cdr:x>0.26594</cdr:x>
      <cdr:y>0.954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27825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0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3986</cdr:x>
      <cdr:y>0.873</cdr:y>
    </cdr:from>
    <cdr:to>
      <cdr:x>0.86848</cdr:x>
      <cdr:y>0.954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382619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3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E0E5718D-064E-42C1-91CB-2226096DD678}" type="datetimeFigureOut">
              <a:rPr lang="en-GB" smtClean="0"/>
              <a:pPr/>
              <a:t>03/04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2995C830-A674-400F-82FB-0D3756ACD8F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758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416B9FA3-0B3D-4699-8696-1174BE157FCC}" type="datetimeFigureOut">
              <a:rPr lang="en-GB" smtClean="0"/>
              <a:pPr/>
              <a:t>03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6125" y="739775"/>
            <a:ext cx="522605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71" tIns="45235" rIns="90471" bIns="4523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1830" y="4681221"/>
            <a:ext cx="5374640" cy="4434840"/>
          </a:xfrm>
          <a:prstGeom prst="rect">
            <a:avLst/>
          </a:prstGeom>
        </p:spPr>
        <p:txBody>
          <a:bodyPr vert="horz" lIns="90471" tIns="45235" rIns="90471" bIns="45235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6B2C06E8-48A6-4E03-8711-C45C0018F49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653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25" y="739775"/>
            <a:ext cx="522605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67074" y="2149772"/>
            <a:ext cx="9559252" cy="4299542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48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292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2715" y="302802"/>
            <a:ext cx="2406015" cy="645157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670" y="302802"/>
            <a:ext cx="7039822" cy="645157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889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3"/>
            <a:ext cx="9089390" cy="162077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6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98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1889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4705" y="4858812"/>
            <a:ext cx="9089390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1pPr>
            <a:lvl2pPr marL="504063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12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189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25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315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37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844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2504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00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670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5812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3401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32099" y="1692533"/>
            <a:ext cx="4726631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32099" y="2397901"/>
            <a:ext cx="4726631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1839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11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596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1" y="301050"/>
            <a:ext cx="3518055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671" y="1582265"/>
            <a:ext cx="3518055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92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074" y="2149772"/>
            <a:ext cx="9559252" cy="42995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4093" y="7042354"/>
            <a:ext cx="1782233" cy="1482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hf sldNum="0" hdr="0" dt="0"/>
  <p:txStyles>
    <p:titleStyle>
      <a:lvl1pPr algn="l" defTabSz="1018705" rtl="0" eaLnBrk="1" latinLnBrk="0" hangingPunct="1">
        <a:lnSpc>
          <a:spcPct val="100000"/>
        </a:lnSpc>
        <a:spcBef>
          <a:spcPct val="0"/>
        </a:spcBef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Tx/>
        <a:buFontTx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2857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•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-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◦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29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›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28574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Pct val="100000"/>
        <a:buFont typeface="+mj-lt"/>
        <a:buAutoNum type="arabicPeriod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alpha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roman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Font typeface="Arial" pitchFamily="34" charset="0"/>
        <a:buNone/>
        <a:defRPr sz="11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352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705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058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41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764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116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469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82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0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79" y="7008171"/>
            <a:ext cx="3386243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088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hf sldNum="0" hdr="0" dt="0"/>
  <p:txStyles>
    <p:titleStyle>
      <a:lvl1pPr algn="ctr" defTabSz="1008126" rtl="0" eaLnBrk="1" latinLnBrk="0" hangingPunct="1"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8047" indent="-378047" algn="l" defTabSz="1008126" rtl="0" eaLnBrk="1" latinLnBrk="0" hangingPunct="1">
        <a:spcBef>
          <a:spcPct val="20000"/>
        </a:spcBef>
        <a:buFont typeface="Arial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19102" indent="-315039" algn="l" defTabSz="1008126" rtl="0" eaLnBrk="1" latinLnBrk="0" hangingPunct="1">
        <a:spcBef>
          <a:spcPct val="20000"/>
        </a:spcBef>
        <a:buFont typeface="Arial" pitchFamily="34" charset="0"/>
        <a:buChar char="–"/>
        <a:defRPr sz="3087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8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6" rtl="0" eaLnBrk="1" latinLnBrk="0" hangingPunct="1">
        <a:spcBef>
          <a:spcPct val="20000"/>
        </a:spcBef>
        <a:buFont typeface="Arial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6" rtl="0" eaLnBrk="1" latinLnBrk="0" hangingPunct="1">
        <a:spcBef>
          <a:spcPct val="20000"/>
        </a:spcBef>
        <a:buFont typeface="Arial" pitchFamily="34" charset="0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AutoShape 50"/>
          <p:cNvSpPr>
            <a:spLocks noChangeAspect="1" noChangeArrowheads="1"/>
          </p:cNvSpPr>
          <p:nvPr/>
        </p:nvSpPr>
        <p:spPr bwMode="auto">
          <a:xfrm>
            <a:off x="522164" y="468263"/>
            <a:ext cx="1675737" cy="1677041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w 21600"/>
              <a:gd name="T9" fmla="*/ 0 h 21600"/>
              <a:gd name="T10" fmla="*/ 0 w 21600"/>
              <a:gd name="T11" fmla="*/ 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5 w 21600"/>
              <a:gd name="T19" fmla="*/ 3162 h 21600"/>
              <a:gd name="T20" fmla="*/ 18435 w 21600"/>
              <a:gd name="T21" fmla="*/ 18438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748" y="8867"/>
                </a:moveTo>
                <a:cubicBezTo>
                  <a:pt x="16880" y="5746"/>
                  <a:pt x="14038" y="3588"/>
                  <a:pt x="10800" y="3588"/>
                </a:cubicBezTo>
                <a:cubicBezTo>
                  <a:pt x="6816" y="3588"/>
                  <a:pt x="3588" y="6816"/>
                  <a:pt x="3588" y="10800"/>
                </a:cubicBezTo>
                <a:cubicBezTo>
                  <a:pt x="3588" y="14783"/>
                  <a:pt x="6816" y="18012"/>
                  <a:pt x="10800" y="18012"/>
                </a:cubicBezTo>
                <a:cubicBezTo>
                  <a:pt x="12871" y="18012"/>
                  <a:pt x="14843" y="17120"/>
                  <a:pt x="16212" y="15565"/>
                </a:cubicBezTo>
                <a:lnTo>
                  <a:pt x="18905" y="17936"/>
                </a:lnTo>
                <a:cubicBezTo>
                  <a:pt x="16855" y="20265"/>
                  <a:pt x="13902" y="21599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5649" y="-1"/>
                  <a:pt x="19905" y="3233"/>
                  <a:pt x="21204" y="7905"/>
                </a:cubicBezTo>
                <a:lnTo>
                  <a:pt x="23806" y="7182"/>
                </a:lnTo>
                <a:lnTo>
                  <a:pt x="20680" y="12716"/>
                </a:lnTo>
                <a:lnTo>
                  <a:pt x="15146" y="9590"/>
                </a:lnTo>
                <a:lnTo>
                  <a:pt x="17748" y="8867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3" name="Chart 9">
            <a:extLst>
              <a:ext uri="{FF2B5EF4-FFF2-40B4-BE49-F238E27FC236}">
                <a16:creationId xmlns:a16="http://schemas.microsoft.com/office/drawing/2014/main" id="{092334FF-6B5C-4B9C-90E0-284D329DAD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95855"/>
              </p:ext>
            </p:extLst>
          </p:nvPr>
        </p:nvGraphicFramePr>
        <p:xfrm>
          <a:off x="4626620" y="324247"/>
          <a:ext cx="5184576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AF133864-1ED5-4636-86A6-5B3F3D2608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8754229"/>
              </p:ext>
            </p:extLst>
          </p:nvPr>
        </p:nvGraphicFramePr>
        <p:xfrm>
          <a:off x="954212" y="4572719"/>
          <a:ext cx="5596949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93B478B-9C88-4EDC-B132-4B6E8DC7F7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3032918"/>
              </p:ext>
            </p:extLst>
          </p:nvPr>
        </p:nvGraphicFramePr>
        <p:xfrm>
          <a:off x="738188" y="4068663"/>
          <a:ext cx="4811282" cy="3048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4">
            <a:extLst>
              <a:ext uri="{FF2B5EF4-FFF2-40B4-BE49-F238E27FC236}">
                <a16:creationId xmlns:a16="http://schemas.microsoft.com/office/drawing/2014/main" id="{5EA9870A-9E11-4A51-A0AB-0C112A6428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8437451"/>
              </p:ext>
            </p:extLst>
          </p:nvPr>
        </p:nvGraphicFramePr>
        <p:xfrm>
          <a:off x="711665" y="972319"/>
          <a:ext cx="5684489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65050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13">
            <a:extLst>
              <a:ext uri="{FF2B5EF4-FFF2-40B4-BE49-F238E27FC236}">
                <a16:creationId xmlns:a16="http://schemas.microsoft.com/office/drawing/2014/main" id="{DC4E5A91-8423-433F-B409-97E6949EA6C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005275"/>
              </p:ext>
            </p:extLst>
          </p:nvPr>
        </p:nvGraphicFramePr>
        <p:xfrm>
          <a:off x="450157" y="612279"/>
          <a:ext cx="8280920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74700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A3863823-7D80-4327-A8FD-6FBC386BA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37F62862-C0DA-47B0-942A-6F1C57858227}"/>
              </a:ext>
            </a:extLst>
          </p:cNvPr>
          <p:cNvSpPr/>
          <p:nvPr/>
        </p:nvSpPr>
        <p:spPr>
          <a:xfrm>
            <a:off x="594172" y="756295"/>
            <a:ext cx="1368152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UEviV40Gz06.1DDNrtA"/>
</p:tagLst>
</file>

<file path=ppt/theme/theme1.xml><?xml version="1.0" encoding="utf-8"?>
<a:theme xmlns:a="http://schemas.openxmlformats.org/drawingml/2006/main" name="~2997995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>
          <a:solidFill>
            <a:schemeClr val="tx2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spcAft>
            <a:spcPts val="900"/>
          </a:spcAft>
          <a:defRPr sz="2000" dirty="0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</Words>
  <Application>Microsoft Office PowerPoint</Application>
  <PresentationFormat>Произвольный</PresentationFormat>
  <Paragraphs>9</Paragraphs>
  <Slides>4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4</vt:i4>
      </vt:variant>
    </vt:vector>
  </HeadingPairs>
  <TitlesOfParts>
    <vt:vector size="10" baseType="lpstr">
      <vt:lpstr>Arial</vt:lpstr>
      <vt:lpstr>Calibri</vt:lpstr>
      <vt:lpstr>Georgia</vt:lpstr>
      <vt:lpstr>Times New Roman</vt:lpstr>
      <vt:lpstr>~2997995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lastModifiedBy/>
  <cp:revision>1</cp:revision>
  <dcterms:created xsi:type="dcterms:W3CDTF">2020-02-29T17:12:31Z</dcterms:created>
  <dcterms:modified xsi:type="dcterms:W3CDTF">2020-04-03T20:49:38Z</dcterms:modified>
</cp:coreProperties>
</file>